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65" r:id="rId5"/>
    <p:sldMasterId id="2147484379" r:id="rId6"/>
    <p:sldMasterId id="2147484386" r:id="rId7"/>
  </p:sldMasterIdLst>
  <p:notesMasterIdLst>
    <p:notesMasterId r:id="rId78"/>
  </p:notesMasterIdLst>
  <p:handoutMasterIdLst>
    <p:handoutMasterId r:id="rId79"/>
  </p:handoutMasterIdLst>
  <p:sldIdLst>
    <p:sldId id="256" r:id="rId8"/>
    <p:sldId id="401" r:id="rId9"/>
    <p:sldId id="258" r:id="rId10"/>
    <p:sldId id="259" r:id="rId11"/>
    <p:sldId id="291" r:id="rId12"/>
    <p:sldId id="398" r:id="rId13"/>
    <p:sldId id="395" r:id="rId14"/>
    <p:sldId id="260" r:id="rId15"/>
    <p:sldId id="262" r:id="rId16"/>
    <p:sldId id="353" r:id="rId17"/>
    <p:sldId id="345" r:id="rId18"/>
    <p:sldId id="406" r:id="rId19"/>
    <p:sldId id="352" r:id="rId20"/>
    <p:sldId id="354" r:id="rId21"/>
    <p:sldId id="263" r:id="rId22"/>
    <p:sldId id="379" r:id="rId23"/>
    <p:sldId id="380" r:id="rId24"/>
    <p:sldId id="381" r:id="rId25"/>
    <p:sldId id="383" r:id="rId26"/>
    <p:sldId id="384" r:id="rId27"/>
    <p:sldId id="400" r:id="rId28"/>
    <p:sldId id="337" r:id="rId29"/>
    <p:sldId id="336" r:id="rId30"/>
    <p:sldId id="292" r:id="rId31"/>
    <p:sldId id="393" r:id="rId32"/>
    <p:sldId id="394" r:id="rId33"/>
    <p:sldId id="301" r:id="rId34"/>
    <p:sldId id="376" r:id="rId35"/>
    <p:sldId id="320" r:id="rId36"/>
    <p:sldId id="270" r:id="rId37"/>
    <p:sldId id="370" r:id="rId38"/>
    <p:sldId id="371" r:id="rId39"/>
    <p:sldId id="372" r:id="rId40"/>
    <p:sldId id="373" r:id="rId41"/>
    <p:sldId id="374" r:id="rId42"/>
    <p:sldId id="375" r:id="rId43"/>
    <p:sldId id="334" r:id="rId44"/>
    <p:sldId id="410" r:id="rId45"/>
    <p:sldId id="348" r:id="rId46"/>
    <p:sldId id="355" r:id="rId47"/>
    <p:sldId id="356" r:id="rId48"/>
    <p:sldId id="403" r:id="rId49"/>
    <p:sldId id="326" r:id="rId50"/>
    <p:sldId id="327" r:id="rId51"/>
    <p:sldId id="328" r:id="rId52"/>
    <p:sldId id="329" r:id="rId53"/>
    <p:sldId id="330" r:id="rId54"/>
    <p:sldId id="382" r:id="rId55"/>
    <p:sldId id="331" r:id="rId56"/>
    <p:sldId id="280" r:id="rId57"/>
    <p:sldId id="281" r:id="rId58"/>
    <p:sldId id="402" r:id="rId59"/>
    <p:sldId id="399" r:id="rId60"/>
    <p:sldId id="284" r:id="rId61"/>
    <p:sldId id="333" r:id="rId62"/>
    <p:sldId id="409" r:id="rId63"/>
    <p:sldId id="407" r:id="rId64"/>
    <p:sldId id="397" r:id="rId65"/>
    <p:sldId id="368" r:id="rId66"/>
    <p:sldId id="357" r:id="rId67"/>
    <p:sldId id="358" r:id="rId68"/>
    <p:sldId id="359" r:id="rId69"/>
    <p:sldId id="360" r:id="rId70"/>
    <p:sldId id="361" r:id="rId71"/>
    <p:sldId id="362" r:id="rId72"/>
    <p:sldId id="363" r:id="rId73"/>
    <p:sldId id="364" r:id="rId74"/>
    <p:sldId id="365" r:id="rId75"/>
    <p:sldId id="366" r:id="rId76"/>
    <p:sldId id="367" r:id="rId77"/>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C5C5649-3E3B-4AF7-9C84-3D167E2FA508}">
          <p14:sldIdLst>
            <p14:sldId id="256"/>
          </p14:sldIdLst>
        </p14:section>
        <p14:section name="Summary Section" id="{99C17D80-B73A-47D6-9144-608781682F55}">
          <p14:sldIdLst>
            <p14:sldId id="401"/>
          </p14:sldIdLst>
        </p14:section>
        <p14:section name="Section 2" id="{95DD0227-A0AC-4B91-A66E-2FDFFD2B9FB0}">
          <p14:sldIdLst>
            <p14:sldId id="258"/>
            <p14:sldId id="259"/>
            <p14:sldId id="291"/>
            <p14:sldId id="398"/>
          </p14:sldIdLst>
        </p14:section>
        <p14:section name="Virtual Machines" id="{AC20AB61-46F0-471B-8F85-A5458D97B803}">
          <p14:sldIdLst>
            <p14:sldId id="395"/>
            <p14:sldId id="260"/>
            <p14:sldId id="262"/>
            <p14:sldId id="353"/>
            <p14:sldId id="345"/>
            <p14:sldId id="406"/>
            <p14:sldId id="352"/>
            <p14:sldId id="354"/>
            <p14:sldId id="263"/>
          </p14:sldIdLst>
        </p14:section>
        <p14:section name="VM Scale Sets" id="{186FEB4E-A4C8-4768-8C27-77D54EB12161}">
          <p14:sldIdLst>
            <p14:sldId id="379"/>
            <p14:sldId id="380"/>
            <p14:sldId id="381"/>
            <p14:sldId id="383"/>
            <p14:sldId id="384"/>
          </p14:sldIdLst>
        </p14:section>
        <p14:section name="Cost Considerations" id="{536798DD-5EAD-4F3C-AED1-052AD0732ACD}">
          <p14:sldIdLst>
            <p14:sldId id="400"/>
            <p14:sldId id="337"/>
            <p14:sldId id="336"/>
            <p14:sldId id="292"/>
            <p14:sldId id="393"/>
            <p14:sldId id="394"/>
            <p14:sldId id="301"/>
          </p14:sldIdLst>
        </p14:section>
        <p14:section name="Azure Resource Manager Review" id="{5048CB84-9CD0-4B61-BA31-01C0EB7EC52B}">
          <p14:sldIdLst>
            <p14:sldId id="376"/>
            <p14:sldId id="320"/>
            <p14:sldId id="270"/>
            <p14:sldId id="370"/>
            <p14:sldId id="371"/>
            <p14:sldId id="372"/>
            <p14:sldId id="373"/>
            <p14:sldId id="374"/>
            <p14:sldId id="375"/>
          </p14:sldIdLst>
        </p14:section>
        <p14:section name="Deployment" id="{F5902DF3-0D26-4FE0-8A79-FED57A765720}">
          <p14:sldIdLst>
            <p14:sldId id="334"/>
            <p14:sldId id="410"/>
            <p14:sldId id="348"/>
            <p14:sldId id="355"/>
            <p14:sldId id="356"/>
            <p14:sldId id="403"/>
            <p14:sldId id="326"/>
            <p14:sldId id="327"/>
            <p14:sldId id="328"/>
            <p14:sldId id="329"/>
            <p14:sldId id="330"/>
            <p14:sldId id="382"/>
            <p14:sldId id="331"/>
            <p14:sldId id="280"/>
            <p14:sldId id="281"/>
            <p14:sldId id="402"/>
          </p14:sldIdLst>
        </p14:section>
        <p14:section name="Applications on IaaS" id="{B3682016-D0A4-4EE2-BA1F-8E076E02FB0E}">
          <p14:sldIdLst>
            <p14:sldId id="399"/>
            <p14:sldId id="284"/>
            <p14:sldId id="333"/>
            <p14:sldId id="409"/>
            <p14:sldId id="407"/>
            <p14:sldId id="397"/>
            <p14:sldId id="368"/>
          </p14:sldIdLst>
        </p14:section>
        <p14:section name="Decisions" id="{556A276B-E2B2-427B-BAEC-867CFE4E2195}">
          <p14:sldIdLst>
            <p14:sldId id="357"/>
            <p14:sldId id="358"/>
            <p14:sldId id="359"/>
            <p14:sldId id="360"/>
            <p14:sldId id="361"/>
            <p14:sldId id="362"/>
            <p14:sldId id="363"/>
            <p14:sldId id="364"/>
            <p14:sldId id="365"/>
            <p14:sldId id="366"/>
            <p14:sldId id="367"/>
          </p14:sldIdLst>
        </p14:section>
      </p14:sectionLst>
    </p:ext>
    <p:ext uri="{EFAFB233-063F-42B5-8137-9DF3F51BA10A}">
      <p15:sldGuideLst xmlns:p15="http://schemas.microsoft.com/office/powerpoint/2012/main">
        <p15:guide id="1" orient="horz" pos="1387" userDrawn="1">
          <p15:clr>
            <a:srgbClr val="A4A3A4"/>
          </p15:clr>
        </p15:guide>
        <p15:guide id="2" pos="34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FB900"/>
    <a:srgbClr val="004B50"/>
    <a:srgbClr val="B4009E"/>
    <a:srgbClr val="5C2D91"/>
    <a:srgbClr val="002050"/>
    <a:srgbClr val="969696"/>
    <a:srgbClr val="D83B01"/>
    <a:srgbClr val="008272"/>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327" autoAdjust="0"/>
  </p:normalViewPr>
  <p:slideViewPr>
    <p:cSldViewPr snapToGrid="0">
      <p:cViewPr varScale="1">
        <p:scale>
          <a:sx n="78" d="100"/>
          <a:sy n="78" d="100"/>
        </p:scale>
        <p:origin x="237" y="42"/>
      </p:cViewPr>
      <p:guideLst>
        <p:guide orient="horz" pos="1387"/>
        <p:guide pos="344"/>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viewProps" Target="viewProps.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commentAuthors" Target="commentAuthors.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notesMaster" Target="notesMasters/notesMaster1.xml"/><Relationship Id="rId8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tis Aramins" userId="2cb9abb6-3927-4a0b-9549-08a071ddbd63" providerId="ADAL" clId="{91847842-5352-4C38-BA62-73F00E990969}"/>
  </pc:docChgLst>
  <pc:docChgLst>
    <pc:chgData name="Mark Grimes" userId="b58058b7-2ab8-4142-95e7-f7e306e81118" providerId="ADAL" clId="{24B37D59-6E88-484A-9D02-55E6AB2AE13A}"/>
    <pc:docChg chg="undo custSel addSld delSld modSld sldOrd modMainMaster addSection delSection modSection">
      <pc:chgData name="Mark Grimes" userId="b58058b7-2ab8-4142-95e7-f7e306e81118" providerId="ADAL" clId="{24B37D59-6E88-484A-9D02-55E6AB2AE13A}" dt="2017-12-20T19:47:19.077" v="7748" actId="20577"/>
      <pc:docMkLst>
        <pc:docMk/>
      </pc:docMkLst>
      <pc:sldChg chg="addSp modSp setBg">
        <pc:chgData name="Mark Grimes" userId="b58058b7-2ab8-4142-95e7-f7e306e81118" providerId="ADAL" clId="{24B37D59-6E88-484A-9D02-55E6AB2AE13A}" dt="2017-12-20T18:09:19.457" v="5117" actId="1076"/>
        <pc:sldMkLst>
          <pc:docMk/>
          <pc:sldMk cId="612298756" sldId="258"/>
        </pc:sldMkLst>
        <pc:picChg chg="add mod">
          <ac:chgData name="Mark Grimes" userId="b58058b7-2ab8-4142-95e7-f7e306e81118" providerId="ADAL" clId="{24B37D59-6E88-484A-9D02-55E6AB2AE13A}" dt="2017-12-20T18:09:19.457" v="5117" actId="1076"/>
          <ac:picMkLst>
            <pc:docMk/>
            <pc:sldMk cId="612298756" sldId="258"/>
            <ac:picMk id="2" creationId="{64AF1C59-DB98-44BE-B4E8-00D80122ED88}"/>
          </ac:picMkLst>
        </pc:picChg>
      </pc:sldChg>
      <pc:sldChg chg="modNotesTx">
        <pc:chgData name="Mark Grimes" userId="b58058b7-2ab8-4142-95e7-f7e306e81118" providerId="ADAL" clId="{24B37D59-6E88-484A-9D02-55E6AB2AE13A}" dt="2017-12-20T18:18:38.577" v="5694" actId="20577"/>
        <pc:sldMkLst>
          <pc:docMk/>
          <pc:sldMk cId="4096563045" sldId="259"/>
        </pc:sldMkLst>
      </pc:sldChg>
      <pc:sldChg chg="addSp delSp modSp">
        <pc:chgData name="Mark Grimes" userId="b58058b7-2ab8-4142-95e7-f7e306e81118" providerId="ADAL" clId="{24B37D59-6E88-484A-9D02-55E6AB2AE13A}" dt="2017-12-20T03:56:48.205" v="2898" actId="20577"/>
        <pc:sldMkLst>
          <pc:docMk/>
          <pc:sldMk cId="1512936185" sldId="260"/>
        </pc:sldMkLst>
        <pc:picChg chg="add del mod">
          <ac:chgData name="Mark Grimes" userId="b58058b7-2ab8-4142-95e7-f7e306e81118" providerId="ADAL" clId="{24B37D59-6E88-484A-9D02-55E6AB2AE13A}" dt="2017-12-20T03:56:48.205" v="2898" actId="20577"/>
          <ac:picMkLst>
            <pc:docMk/>
            <pc:sldMk cId="1512936185" sldId="260"/>
            <ac:picMk id="2" creationId="{F0E8B055-4DF9-4403-9664-467B9D9CC95E}"/>
          </ac:picMkLst>
        </pc:picChg>
      </pc:sldChg>
      <pc:sldChg chg="ord">
        <pc:chgData name="Mark Grimes" userId="b58058b7-2ab8-4142-95e7-f7e306e81118" providerId="ADAL" clId="{24B37D59-6E88-484A-9D02-55E6AB2AE13A}" dt="2017-12-19T16:35:57.517" v="2202" actId="20577"/>
        <pc:sldMkLst>
          <pc:docMk/>
          <pc:sldMk cId="1655537732" sldId="280"/>
        </pc:sldMkLst>
      </pc:sldChg>
      <pc:sldChg chg="ord">
        <pc:chgData name="Mark Grimes" userId="b58058b7-2ab8-4142-95e7-f7e306e81118" providerId="ADAL" clId="{24B37D59-6E88-484A-9D02-55E6AB2AE13A}" dt="2017-12-20T19:18:52.043" v="6310" actId="20577"/>
        <pc:sldMkLst>
          <pc:docMk/>
          <pc:sldMk cId="3461521321" sldId="281"/>
        </pc:sldMkLst>
      </pc:sldChg>
      <pc:sldChg chg="ord">
        <pc:chgData name="Mark Grimes" userId="b58058b7-2ab8-4142-95e7-f7e306e81118" providerId="ADAL" clId="{24B37D59-6E88-484A-9D02-55E6AB2AE13A}" dt="2017-12-19T19:20:07.708" v="2684" actId="20577"/>
        <pc:sldMkLst>
          <pc:docMk/>
          <pc:sldMk cId="4031993475" sldId="284"/>
        </pc:sldMkLst>
      </pc:sldChg>
      <pc:sldChg chg="modSp ord">
        <pc:chgData name="Mark Grimes" userId="b58058b7-2ab8-4142-95e7-f7e306e81118" providerId="ADAL" clId="{24B37D59-6E88-484A-9D02-55E6AB2AE13A}" dt="2017-12-20T03:52:05.128" v="2840" actId="20577"/>
        <pc:sldMkLst>
          <pc:docMk/>
          <pc:sldMk cId="1006382951" sldId="291"/>
        </pc:sldMkLst>
        <pc:spChg chg="mod">
          <ac:chgData name="Mark Grimes" userId="b58058b7-2ab8-4142-95e7-f7e306e81118" providerId="ADAL" clId="{24B37D59-6E88-484A-9D02-55E6AB2AE13A}" dt="2017-12-18T21:24:10.514" v="281" actId="20577"/>
          <ac:spMkLst>
            <pc:docMk/>
            <pc:sldMk cId="1006382951" sldId="291"/>
            <ac:spMk id="2" creationId="{00000000-0000-0000-0000-000000000000}"/>
          </ac:spMkLst>
        </pc:spChg>
        <pc:spChg chg="mod">
          <ac:chgData name="Mark Grimes" userId="b58058b7-2ab8-4142-95e7-f7e306e81118" providerId="ADAL" clId="{24B37D59-6E88-484A-9D02-55E6AB2AE13A}" dt="2017-12-20T03:52:05.128" v="2840" actId="20577"/>
          <ac:spMkLst>
            <pc:docMk/>
            <pc:sldMk cId="1006382951" sldId="291"/>
            <ac:spMk id="12" creationId="{00000000-0000-0000-0000-000000000000}"/>
          </ac:spMkLst>
        </pc:spChg>
      </pc:sldChg>
      <pc:sldChg chg="addSp delSp modSp ord modNotesTx">
        <pc:chgData name="Mark Grimes" userId="b58058b7-2ab8-4142-95e7-f7e306e81118" providerId="ADAL" clId="{24B37D59-6E88-484A-9D02-55E6AB2AE13A}" dt="2017-12-20T03:50:01.009" v="2831" actId="20577"/>
        <pc:sldMkLst>
          <pc:docMk/>
          <pc:sldMk cId="3118676733" sldId="292"/>
        </pc:sldMkLst>
        <pc:spChg chg="add mod">
          <ac:chgData name="Mark Grimes" userId="b58058b7-2ab8-4142-95e7-f7e306e81118" providerId="ADAL" clId="{24B37D59-6E88-484A-9D02-55E6AB2AE13A}" dt="2017-12-19T13:10:57.949" v="924" actId="14100"/>
          <ac:spMkLst>
            <pc:docMk/>
            <pc:sldMk cId="3118676733" sldId="292"/>
            <ac:spMk id="4" creationId="{9021E224-F6D9-40FA-9F06-D7597C7DB78E}"/>
          </ac:spMkLst>
        </pc:spChg>
        <pc:spChg chg="del">
          <ac:chgData name="Mark Grimes" userId="b58058b7-2ab8-4142-95e7-f7e306e81118" providerId="ADAL" clId="{24B37D59-6E88-484A-9D02-55E6AB2AE13A}" dt="2017-12-18T22:44:33.817" v="840" actId="478"/>
          <ac:spMkLst>
            <pc:docMk/>
            <pc:sldMk cId="3118676733" sldId="292"/>
            <ac:spMk id="5" creationId="{00000000-0000-0000-0000-000000000000}"/>
          </ac:spMkLst>
        </pc:spChg>
        <pc:spChg chg="mod">
          <ac:chgData name="Mark Grimes" userId="b58058b7-2ab8-4142-95e7-f7e306e81118" providerId="ADAL" clId="{24B37D59-6E88-484A-9D02-55E6AB2AE13A}" dt="2017-12-18T22:41:16.908" v="722" actId="20577"/>
          <ac:spMkLst>
            <pc:docMk/>
            <pc:sldMk cId="3118676733" sldId="292"/>
            <ac:spMk id="6" creationId="{00000000-0000-0000-0000-000000000000}"/>
          </ac:spMkLst>
        </pc:spChg>
        <pc:spChg chg="add mod">
          <ac:chgData name="Mark Grimes" userId="b58058b7-2ab8-4142-95e7-f7e306e81118" providerId="ADAL" clId="{24B37D59-6E88-484A-9D02-55E6AB2AE13A}" dt="2017-12-19T13:10:57.949" v="924" actId="14100"/>
          <ac:spMkLst>
            <pc:docMk/>
            <pc:sldMk cId="3118676733" sldId="292"/>
            <ac:spMk id="7" creationId="{2BA1D887-A266-4659-9D20-6A4C15A2AD3C}"/>
          </ac:spMkLst>
        </pc:spChg>
        <pc:spChg chg="add mod">
          <ac:chgData name="Mark Grimes" userId="b58058b7-2ab8-4142-95e7-f7e306e81118" providerId="ADAL" clId="{24B37D59-6E88-484A-9D02-55E6AB2AE13A}" dt="2017-12-19T13:10:57.949" v="924" actId="14100"/>
          <ac:spMkLst>
            <pc:docMk/>
            <pc:sldMk cId="3118676733" sldId="292"/>
            <ac:spMk id="8" creationId="{AF250653-C9A0-4605-9283-70CE86C103AE}"/>
          </ac:spMkLst>
        </pc:spChg>
        <pc:spChg chg="add mod">
          <ac:chgData name="Mark Grimes" userId="b58058b7-2ab8-4142-95e7-f7e306e81118" providerId="ADAL" clId="{24B37D59-6E88-484A-9D02-55E6AB2AE13A}" dt="2017-12-19T13:10:57.949" v="924" actId="14100"/>
          <ac:spMkLst>
            <pc:docMk/>
            <pc:sldMk cId="3118676733" sldId="292"/>
            <ac:spMk id="9" creationId="{28864E2D-B68A-4462-B0F6-334C124FF3E4}"/>
          </ac:spMkLst>
        </pc:spChg>
        <pc:spChg chg="add mod">
          <ac:chgData name="Mark Grimes" userId="b58058b7-2ab8-4142-95e7-f7e306e81118" providerId="ADAL" clId="{24B37D59-6E88-484A-9D02-55E6AB2AE13A}" dt="2017-12-19T13:10:57.949" v="924" actId="14100"/>
          <ac:spMkLst>
            <pc:docMk/>
            <pc:sldMk cId="3118676733" sldId="292"/>
            <ac:spMk id="10" creationId="{306FC97A-18EC-4A29-A052-C1BD75CA6738}"/>
          </ac:spMkLst>
        </pc:spChg>
        <pc:spChg chg="add mod">
          <ac:chgData name="Mark Grimes" userId="b58058b7-2ab8-4142-95e7-f7e306e81118" providerId="ADAL" clId="{24B37D59-6E88-484A-9D02-55E6AB2AE13A}" dt="2017-12-19T13:10:57.949" v="924" actId="14100"/>
          <ac:spMkLst>
            <pc:docMk/>
            <pc:sldMk cId="3118676733" sldId="292"/>
            <ac:spMk id="11" creationId="{CF350BBB-697D-44D3-A9B7-2C4CFE6F3E44}"/>
          </ac:spMkLst>
        </pc:spChg>
        <pc:spChg chg="add mod">
          <ac:chgData name="Mark Grimes" userId="b58058b7-2ab8-4142-95e7-f7e306e81118" providerId="ADAL" clId="{24B37D59-6E88-484A-9D02-55E6AB2AE13A}" dt="2017-12-18T22:51:34.112" v="918" actId="20577"/>
          <ac:spMkLst>
            <pc:docMk/>
            <pc:sldMk cId="3118676733" sldId="292"/>
            <ac:spMk id="12" creationId="{B66A53B4-BE5E-44E5-A379-AC7FE4314AA3}"/>
          </ac:spMkLst>
        </pc:spChg>
        <pc:graphicFrameChg chg="del mod">
          <ac:chgData name="Mark Grimes" userId="b58058b7-2ab8-4142-95e7-f7e306e81118" providerId="ADAL" clId="{24B37D59-6E88-484A-9D02-55E6AB2AE13A}" dt="2017-12-18T22:40:51.034" v="700" actId="478"/>
          <ac:graphicFrameMkLst>
            <pc:docMk/>
            <pc:sldMk cId="3118676733" sldId="292"/>
            <ac:graphicFrameMk id="2" creationId="{00000000-0000-0000-0000-000000000000}"/>
          </ac:graphicFrameMkLst>
        </pc:graphicFrameChg>
        <pc:graphicFrameChg chg="add mod">
          <ac:chgData name="Mark Grimes" userId="b58058b7-2ab8-4142-95e7-f7e306e81118" providerId="ADAL" clId="{24B37D59-6E88-484A-9D02-55E6AB2AE13A}" dt="2017-12-18T22:51:21.914" v="909" actId="20577"/>
          <ac:graphicFrameMkLst>
            <pc:docMk/>
            <pc:sldMk cId="3118676733" sldId="292"/>
            <ac:graphicFrameMk id="3" creationId="{F37DFFF0-358B-4AA6-B5EE-3F6BA1485232}"/>
          </ac:graphicFrameMkLst>
        </pc:graphicFrameChg>
      </pc:sldChg>
      <pc:sldChg chg="modSp ord">
        <pc:chgData name="Mark Grimes" userId="b58058b7-2ab8-4142-95e7-f7e306e81118" providerId="ADAL" clId="{24B37D59-6E88-484A-9D02-55E6AB2AE13A}" dt="2017-12-20T15:03:26.803" v="4072" actId="207"/>
        <pc:sldMkLst>
          <pc:docMk/>
          <pc:sldMk cId="3406181823" sldId="301"/>
        </pc:sldMkLst>
        <pc:graphicFrameChg chg="mod">
          <ac:chgData name="Mark Grimes" userId="b58058b7-2ab8-4142-95e7-f7e306e81118" providerId="ADAL" clId="{24B37D59-6E88-484A-9D02-55E6AB2AE13A}" dt="2017-12-20T15:03:26.803" v="4072" actId="207"/>
          <ac:graphicFrameMkLst>
            <pc:docMk/>
            <pc:sldMk cId="3406181823" sldId="301"/>
            <ac:graphicFrameMk id="2" creationId="{00000000-0000-0000-0000-000000000000}"/>
          </ac:graphicFrameMkLst>
        </pc:graphicFrameChg>
      </pc:sldChg>
      <pc:sldChg chg="delSp modSp">
        <pc:chgData name="Mark Grimes" userId="b58058b7-2ab8-4142-95e7-f7e306e81118" providerId="ADAL" clId="{24B37D59-6E88-484A-9D02-55E6AB2AE13A}" dt="2017-12-19T14:54:34.673" v="1303" actId="165"/>
        <pc:sldMkLst>
          <pc:docMk/>
          <pc:sldMk cId="1323493988" sldId="320"/>
        </pc:sldMkLst>
        <pc:spChg chg="mod topLvl">
          <ac:chgData name="Mark Grimes" userId="b58058b7-2ab8-4142-95e7-f7e306e81118" providerId="ADAL" clId="{24B37D59-6E88-484A-9D02-55E6AB2AE13A}" dt="2017-12-19T14:54:34.673" v="1303" actId="165"/>
          <ac:spMkLst>
            <pc:docMk/>
            <pc:sldMk cId="1323493988" sldId="320"/>
            <ac:spMk id="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3"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4"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5"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3"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4"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5"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2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3"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4"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5"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3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3"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4"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5"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4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3"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4"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5"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5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3"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4"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5"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6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3"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4"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5"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7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3"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4"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5"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8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3"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4"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5"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6"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7"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8"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99"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00"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01"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02" creationId="{00000000-0000-0000-0000-000000000000}"/>
          </ac:spMkLst>
        </pc:spChg>
        <pc:spChg chg="mod topLvl">
          <ac:chgData name="Mark Grimes" userId="b58058b7-2ab8-4142-95e7-f7e306e81118" providerId="ADAL" clId="{24B37D59-6E88-484A-9D02-55E6AB2AE13A}" dt="2017-12-19T14:54:34.673" v="1303" actId="165"/>
          <ac:spMkLst>
            <pc:docMk/>
            <pc:sldMk cId="1323493988" sldId="320"/>
            <ac:spMk id="103" creationId="{00000000-0000-0000-0000-000000000000}"/>
          </ac:spMkLst>
        </pc:spChg>
        <pc:grpChg chg="del">
          <ac:chgData name="Mark Grimes" userId="b58058b7-2ab8-4142-95e7-f7e306e81118" providerId="ADAL" clId="{24B37D59-6E88-484A-9D02-55E6AB2AE13A}" dt="2017-12-19T14:54:34.673" v="1303" actId="165"/>
          <ac:grpSpMkLst>
            <pc:docMk/>
            <pc:sldMk cId="1323493988" sldId="320"/>
            <ac:grpSpMk id="5" creationId="{00000000-0000-0000-0000-000000000000}"/>
          </ac:grpSpMkLst>
        </pc:grpChg>
      </pc:sldChg>
      <pc:sldChg chg="addSp modSp ord">
        <pc:chgData name="Mark Grimes" userId="b58058b7-2ab8-4142-95e7-f7e306e81118" providerId="ADAL" clId="{24B37D59-6E88-484A-9D02-55E6AB2AE13A}" dt="2017-12-20T16:07:49.236" v="4613" actId="1440"/>
        <pc:sldMkLst>
          <pc:docMk/>
          <pc:sldMk cId="907926838" sldId="326"/>
        </pc:sldMkLst>
        <pc:spChg chg="mod">
          <ac:chgData name="Mark Grimes" userId="b58058b7-2ab8-4142-95e7-f7e306e81118" providerId="ADAL" clId="{24B37D59-6E88-484A-9D02-55E6AB2AE13A}" dt="2017-12-20T16:05:04.231" v="4610" actId="20577"/>
          <ac:spMkLst>
            <pc:docMk/>
            <pc:sldMk cId="907926838" sldId="326"/>
            <ac:spMk id="4" creationId="{00000000-0000-0000-0000-000000000000}"/>
          </ac:spMkLst>
        </pc:spChg>
        <pc:picChg chg="add mod">
          <ac:chgData name="Mark Grimes" userId="b58058b7-2ab8-4142-95e7-f7e306e81118" providerId="ADAL" clId="{24B37D59-6E88-484A-9D02-55E6AB2AE13A}" dt="2017-12-20T16:07:49.236" v="4613" actId="1440"/>
          <ac:picMkLst>
            <pc:docMk/>
            <pc:sldMk cId="907926838" sldId="326"/>
            <ac:picMk id="2" creationId="{40D2C95C-C26C-488C-82AE-F58F6072362E}"/>
          </ac:picMkLst>
        </pc:picChg>
      </pc:sldChg>
      <pc:sldChg chg="modSp ord">
        <pc:chgData name="Mark Grimes" userId="b58058b7-2ab8-4142-95e7-f7e306e81118" providerId="ADAL" clId="{24B37D59-6E88-484A-9D02-55E6AB2AE13A}" dt="2017-12-19T16:35:57.517" v="2202" actId="20577"/>
        <pc:sldMkLst>
          <pc:docMk/>
          <pc:sldMk cId="4063579741" sldId="327"/>
        </pc:sldMkLst>
        <pc:spChg chg="mod">
          <ac:chgData name="Mark Grimes" userId="b58058b7-2ab8-4142-95e7-f7e306e81118" providerId="ADAL" clId="{24B37D59-6E88-484A-9D02-55E6AB2AE13A}" dt="2017-12-19T15:00:09.942" v="1558" actId="12"/>
          <ac:spMkLst>
            <pc:docMk/>
            <pc:sldMk cId="4063579741" sldId="327"/>
            <ac:spMk id="4" creationId="{00000000-0000-0000-0000-000000000000}"/>
          </ac:spMkLst>
        </pc:spChg>
      </pc:sldChg>
      <pc:sldChg chg="ord">
        <pc:chgData name="Mark Grimes" userId="b58058b7-2ab8-4142-95e7-f7e306e81118" providerId="ADAL" clId="{24B37D59-6E88-484A-9D02-55E6AB2AE13A}" dt="2017-12-19T16:35:57.517" v="2202" actId="20577"/>
        <pc:sldMkLst>
          <pc:docMk/>
          <pc:sldMk cId="3139959377" sldId="328"/>
        </pc:sldMkLst>
      </pc:sldChg>
      <pc:sldChg chg="ord">
        <pc:chgData name="Mark Grimes" userId="b58058b7-2ab8-4142-95e7-f7e306e81118" providerId="ADAL" clId="{24B37D59-6E88-484A-9D02-55E6AB2AE13A}" dt="2017-12-19T16:35:57.517" v="2202" actId="20577"/>
        <pc:sldMkLst>
          <pc:docMk/>
          <pc:sldMk cId="651085693" sldId="329"/>
        </pc:sldMkLst>
      </pc:sldChg>
      <pc:sldChg chg="ord">
        <pc:chgData name="Mark Grimes" userId="b58058b7-2ab8-4142-95e7-f7e306e81118" providerId="ADAL" clId="{24B37D59-6E88-484A-9D02-55E6AB2AE13A}" dt="2017-12-19T16:35:57.517" v="2202" actId="20577"/>
        <pc:sldMkLst>
          <pc:docMk/>
          <pc:sldMk cId="322185988" sldId="330"/>
        </pc:sldMkLst>
      </pc:sldChg>
      <pc:sldChg chg="ord">
        <pc:chgData name="Mark Grimes" userId="b58058b7-2ab8-4142-95e7-f7e306e81118" providerId="ADAL" clId="{24B37D59-6E88-484A-9D02-55E6AB2AE13A}" dt="2017-12-19T16:35:57.517" v="2202" actId="20577"/>
        <pc:sldMkLst>
          <pc:docMk/>
          <pc:sldMk cId="282359560" sldId="331"/>
        </pc:sldMkLst>
      </pc:sldChg>
      <pc:sldChg chg="ord">
        <pc:chgData name="Mark Grimes" userId="b58058b7-2ab8-4142-95e7-f7e306e81118" providerId="ADAL" clId="{24B37D59-6E88-484A-9D02-55E6AB2AE13A}" dt="2017-12-19T19:20:07.708" v="2684" actId="20577"/>
        <pc:sldMkLst>
          <pc:docMk/>
          <pc:sldMk cId="667156025" sldId="333"/>
        </pc:sldMkLst>
      </pc:sldChg>
      <pc:sldChg chg="addSp delSp modSp ord setBg">
        <pc:chgData name="Mark Grimes" userId="b58058b7-2ab8-4142-95e7-f7e306e81118" providerId="ADAL" clId="{24B37D59-6E88-484A-9D02-55E6AB2AE13A}" dt="2017-12-20T15:08:59.421" v="4129" actId="20577"/>
        <pc:sldMkLst>
          <pc:docMk/>
          <pc:sldMk cId="16099486" sldId="334"/>
        </pc:sldMkLst>
        <pc:spChg chg="add mod">
          <ac:chgData name="Mark Grimes" userId="b58058b7-2ab8-4142-95e7-f7e306e81118" providerId="ADAL" clId="{24B37D59-6E88-484A-9D02-55E6AB2AE13A}" dt="2017-12-20T15:05:17.399" v="4119" actId="20577"/>
          <ac:spMkLst>
            <pc:docMk/>
            <pc:sldMk cId="16099486" sldId="334"/>
            <ac:spMk id="2" creationId="{0586722D-B6BF-4D0F-9813-5DACC5BEA908}"/>
          </ac:spMkLst>
        </pc:spChg>
        <pc:spChg chg="del mod">
          <ac:chgData name="Mark Grimes" userId="b58058b7-2ab8-4142-95e7-f7e306e81118" providerId="ADAL" clId="{24B37D59-6E88-484A-9D02-55E6AB2AE13A}" dt="2017-12-20T04:49:50.208" v="3763" actId="20577"/>
          <ac:spMkLst>
            <pc:docMk/>
            <pc:sldMk cId="16099486" sldId="334"/>
            <ac:spMk id="4" creationId="{00000000-0000-0000-0000-000000000000}"/>
          </ac:spMkLst>
        </pc:spChg>
        <pc:graphicFrameChg chg="add mod">
          <ac:chgData name="Mark Grimes" userId="b58058b7-2ab8-4142-95e7-f7e306e81118" providerId="ADAL" clId="{24B37D59-6E88-484A-9D02-55E6AB2AE13A}" dt="2017-12-20T15:08:59.421" v="4129" actId="20577"/>
          <ac:graphicFrameMkLst>
            <pc:docMk/>
            <pc:sldMk cId="16099486" sldId="334"/>
            <ac:graphicFrameMk id="3" creationId="{8729EFEC-2AEA-470A-94D1-CC460369B265}"/>
          </ac:graphicFrameMkLst>
        </pc:graphicFrameChg>
      </pc:sldChg>
      <pc:sldChg chg="ord">
        <pc:chgData name="Mark Grimes" userId="b58058b7-2ab8-4142-95e7-f7e306e81118" providerId="ADAL" clId="{24B37D59-6E88-484A-9D02-55E6AB2AE13A}" dt="2017-12-20T03:50:01.009" v="2831" actId="20577"/>
        <pc:sldMkLst>
          <pc:docMk/>
          <pc:sldMk cId="585756326" sldId="336"/>
        </pc:sldMkLst>
      </pc:sldChg>
      <pc:sldChg chg="modSp ord">
        <pc:chgData name="Mark Grimes" userId="b58058b7-2ab8-4142-95e7-f7e306e81118" providerId="ADAL" clId="{24B37D59-6E88-484A-9D02-55E6AB2AE13A}" dt="2017-12-20T16:39:42.719" v="4700" actId="20577"/>
        <pc:sldMkLst>
          <pc:docMk/>
          <pc:sldMk cId="3259477257" sldId="337"/>
        </pc:sldMkLst>
        <pc:spChg chg="mod">
          <ac:chgData name="Mark Grimes" userId="b58058b7-2ab8-4142-95e7-f7e306e81118" providerId="ADAL" clId="{24B37D59-6E88-484A-9D02-55E6AB2AE13A}" dt="2017-12-20T16:39:42.719" v="4700" actId="20577"/>
          <ac:spMkLst>
            <pc:docMk/>
            <pc:sldMk cId="3259477257" sldId="337"/>
            <ac:spMk id="2" creationId="{00000000-0000-0000-0000-000000000000}"/>
          </ac:spMkLst>
        </pc:spChg>
      </pc:sldChg>
      <pc:sldChg chg="addSp modSp">
        <pc:chgData name="Mark Grimes" userId="b58058b7-2ab8-4142-95e7-f7e306e81118" providerId="ADAL" clId="{24B37D59-6E88-484A-9D02-55E6AB2AE13A}" dt="2017-12-20T04:06:20.929" v="2953" actId="1076"/>
        <pc:sldMkLst>
          <pc:docMk/>
          <pc:sldMk cId="3465474124" sldId="345"/>
        </pc:sldMkLst>
        <pc:spChg chg="add mod">
          <ac:chgData name="Mark Grimes" userId="b58058b7-2ab8-4142-95e7-f7e306e81118" providerId="ADAL" clId="{24B37D59-6E88-484A-9D02-55E6AB2AE13A}" dt="2017-12-20T04:06:20.929" v="2953" actId="1076"/>
          <ac:spMkLst>
            <pc:docMk/>
            <pc:sldMk cId="3465474124" sldId="345"/>
            <ac:spMk id="2" creationId="{D30CD716-F27B-452B-9A72-D0B997513CAB}"/>
          </ac:spMkLst>
        </pc:spChg>
      </pc:sldChg>
      <pc:sldChg chg="addSp modSp add ord setBg">
        <pc:chgData name="Mark Grimes" userId="b58058b7-2ab8-4142-95e7-f7e306e81118" providerId="ADAL" clId="{24B37D59-6E88-484A-9D02-55E6AB2AE13A}" dt="2017-12-20T15:14:43.133" v="4328" actId="20577"/>
        <pc:sldMkLst>
          <pc:docMk/>
          <pc:sldMk cId="1070614921" sldId="348"/>
        </pc:sldMkLst>
        <pc:spChg chg="mod">
          <ac:chgData name="Mark Grimes" userId="b58058b7-2ab8-4142-95e7-f7e306e81118" providerId="ADAL" clId="{24B37D59-6E88-484A-9D02-55E6AB2AE13A}" dt="2017-12-20T15:14:43.133" v="4328" actId="20577"/>
          <ac:spMkLst>
            <pc:docMk/>
            <pc:sldMk cId="1070614921" sldId="348"/>
            <ac:spMk id="2" creationId="{00000000-0000-0000-0000-000000000000}"/>
          </ac:spMkLst>
        </pc:spChg>
        <pc:spChg chg="mod">
          <ac:chgData name="Mark Grimes" userId="b58058b7-2ab8-4142-95e7-f7e306e81118" providerId="ADAL" clId="{24B37D59-6E88-484A-9D02-55E6AB2AE13A}" dt="2017-12-19T13:15:39.109" v="1017" actId="20577"/>
          <ac:spMkLst>
            <pc:docMk/>
            <pc:sldMk cId="1070614921" sldId="348"/>
            <ac:spMk id="3" creationId="{00000000-0000-0000-0000-000000000000}"/>
          </ac:spMkLst>
        </pc:spChg>
        <pc:picChg chg="add mod">
          <ac:chgData name="Mark Grimes" userId="b58058b7-2ab8-4142-95e7-f7e306e81118" providerId="ADAL" clId="{24B37D59-6E88-484A-9D02-55E6AB2AE13A}" dt="2017-12-20T15:13:44.316" v="4274" actId="1440"/>
          <ac:picMkLst>
            <pc:docMk/>
            <pc:sldMk cId="1070614921" sldId="348"/>
            <ac:picMk id="4" creationId="{D2A75D62-EAE3-40AA-9899-585273921300}"/>
          </ac:picMkLst>
        </pc:picChg>
      </pc:sldChg>
      <pc:sldChg chg="add setBg modNotesTx">
        <pc:chgData name="Mark Grimes" userId="b58058b7-2ab8-4142-95e7-f7e306e81118" providerId="ADAL" clId="{24B37D59-6E88-484A-9D02-55E6AB2AE13A}" dt="2017-12-20T18:15:36.353" v="5637" actId="5793"/>
        <pc:sldMkLst>
          <pc:docMk/>
          <pc:sldMk cId="3068871388" sldId="349"/>
        </pc:sldMkLst>
      </pc:sldChg>
      <pc:sldChg chg="modSp modNotesTx">
        <pc:chgData name="Mark Grimes" userId="b58058b7-2ab8-4142-95e7-f7e306e81118" providerId="ADAL" clId="{24B37D59-6E88-484A-9D02-55E6AB2AE13A}" dt="2017-12-20T19:47:19.077" v="7748" actId="20577"/>
        <pc:sldMkLst>
          <pc:docMk/>
          <pc:sldMk cId="975048014" sldId="350"/>
        </pc:sldMkLst>
        <pc:spChg chg="mod">
          <ac:chgData name="Mark Grimes" userId="b58058b7-2ab8-4142-95e7-f7e306e81118" providerId="ADAL" clId="{24B37D59-6E88-484A-9D02-55E6AB2AE13A}" dt="2017-12-20T19:47:19.077" v="7748" actId="20577"/>
          <ac:spMkLst>
            <pc:docMk/>
            <pc:sldMk cId="975048014" sldId="350"/>
            <ac:spMk id="2" creationId="{00000000-0000-0000-0000-000000000000}"/>
          </ac:spMkLst>
        </pc:spChg>
      </pc:sldChg>
      <pc:sldChg chg="addSp delSp modSp add setBg delDesignElem">
        <pc:chgData name="Mark Grimes" userId="b58058b7-2ab8-4142-95e7-f7e306e81118" providerId="ADAL" clId="{24B37D59-6E88-484A-9D02-55E6AB2AE13A}" dt="2017-12-20T04:09:39.522" v="2956" actId="20577"/>
        <pc:sldMkLst>
          <pc:docMk/>
          <pc:sldMk cId="2932769781" sldId="352"/>
        </pc:sldMkLst>
        <pc:spChg chg="mod">
          <ac:chgData name="Mark Grimes" userId="b58058b7-2ab8-4142-95e7-f7e306e81118" providerId="ADAL" clId="{24B37D59-6E88-484A-9D02-55E6AB2AE13A}" dt="2017-12-20T04:09:31.334" v="2955" actId="20577"/>
          <ac:spMkLst>
            <pc:docMk/>
            <pc:sldMk cId="2932769781" sldId="352"/>
            <ac:spMk id="6" creationId="{00000000-0000-0000-0000-000000000000}"/>
          </ac:spMkLst>
        </pc:spChg>
        <pc:spChg chg="add mod">
          <ac:chgData name="Mark Grimes" userId="b58058b7-2ab8-4142-95e7-f7e306e81118" providerId="ADAL" clId="{24B37D59-6E88-484A-9D02-55E6AB2AE13A}" dt="2017-12-20T04:09:39.522" v="2956" actId="20577"/>
          <ac:spMkLst>
            <pc:docMk/>
            <pc:sldMk cId="2932769781" sldId="352"/>
            <ac:spMk id="12" creationId="{E2049AEE-E324-4BB1-A9B3-4F2090089F71}"/>
          </ac:spMkLst>
        </pc:spChg>
        <pc:spChg chg="del">
          <ac:chgData name="Mark Grimes" userId="b58058b7-2ab8-4142-95e7-f7e306e81118" providerId="ADAL" clId="{24B37D59-6E88-484A-9D02-55E6AB2AE13A}" dt="2017-12-19T13:21:54.974" v="1156" actId="20577"/>
          <ac:spMkLst>
            <pc:docMk/>
            <pc:sldMk cId="2932769781" sldId="352"/>
            <ac:spMk id="28" creationId="{5FD1953D-C7CA-46CA-93DC-1DBF145A0414}"/>
          </ac:spMkLst>
        </pc:spChg>
        <pc:spChg chg="del">
          <ac:chgData name="Mark Grimes" userId="b58058b7-2ab8-4142-95e7-f7e306e81118" providerId="ADAL" clId="{24B37D59-6E88-484A-9D02-55E6AB2AE13A}" dt="2017-12-19T13:21:54.974" v="1156" actId="20577"/>
          <ac:spMkLst>
            <pc:docMk/>
            <pc:sldMk cId="2932769781" sldId="352"/>
            <ac:spMk id="29" creationId="{32E10D38-0BE1-487A-9249-977AFA4BE0E7}"/>
          </ac:spMkLst>
        </pc:spChg>
        <pc:spChg chg="del">
          <ac:chgData name="Mark Grimes" userId="b58058b7-2ab8-4142-95e7-f7e306e81118" providerId="ADAL" clId="{24B37D59-6E88-484A-9D02-55E6AB2AE13A}" dt="2017-12-19T13:21:54.974" v="1156" actId="20577"/>
          <ac:spMkLst>
            <pc:docMk/>
            <pc:sldMk cId="2932769781" sldId="352"/>
            <ac:spMk id="30" creationId="{5901E780-018A-4FDE-88D0-70A8CA27FA26}"/>
          </ac:spMkLst>
        </pc:spChg>
        <pc:spChg chg="del">
          <ac:chgData name="Mark Grimes" userId="b58058b7-2ab8-4142-95e7-f7e306e81118" providerId="ADAL" clId="{24B37D59-6E88-484A-9D02-55E6AB2AE13A}" dt="2017-12-19T13:21:54.974" v="1156" actId="20577"/>
          <ac:spMkLst>
            <pc:docMk/>
            <pc:sldMk cId="2932769781" sldId="352"/>
            <ac:spMk id="31" creationId="{364A263C-0EE8-4268-A7EB-106E317322BB}"/>
          </ac:spMkLst>
        </pc:spChg>
        <pc:spChg chg="del">
          <ac:chgData name="Mark Grimes" userId="b58058b7-2ab8-4142-95e7-f7e306e81118" providerId="ADAL" clId="{24B37D59-6E88-484A-9D02-55E6AB2AE13A}" dt="2017-12-19T13:21:54.974" v="1156" actId="20577"/>
          <ac:spMkLst>
            <pc:docMk/>
            <pc:sldMk cId="2932769781" sldId="352"/>
            <ac:spMk id="32" creationId="{D7CC673C-4A24-4FEB-B0A6-4836B4BAEF79}"/>
          </ac:spMkLst>
        </pc:spChg>
        <pc:picChg chg="mod">
          <ac:chgData name="Mark Grimes" userId="b58058b7-2ab8-4142-95e7-f7e306e81118" providerId="ADAL" clId="{24B37D59-6E88-484A-9D02-55E6AB2AE13A}" dt="2017-12-20T04:03:05.008" v="2919" actId="1076"/>
          <ac:picMkLst>
            <pc:docMk/>
            <pc:sldMk cId="2932769781" sldId="352"/>
            <ac:picMk id="2" creationId="{95337A5D-4A70-4BA3-89CD-E8C8A0B853E6}"/>
          </ac:picMkLst>
        </pc:picChg>
        <pc:picChg chg="mod">
          <ac:chgData name="Mark Grimes" userId="b58058b7-2ab8-4142-95e7-f7e306e81118" providerId="ADAL" clId="{24B37D59-6E88-484A-9D02-55E6AB2AE13A}" dt="2017-12-20T04:03:01.160" v="2918" actId="1076"/>
          <ac:picMkLst>
            <pc:docMk/>
            <pc:sldMk cId="2932769781" sldId="352"/>
            <ac:picMk id="4" creationId="{00000000-0000-0000-0000-000000000000}"/>
          </ac:picMkLst>
        </pc:picChg>
        <pc:cxnChg chg="del">
          <ac:chgData name="Mark Grimes" userId="b58058b7-2ab8-4142-95e7-f7e306e81118" providerId="ADAL" clId="{24B37D59-6E88-484A-9D02-55E6AB2AE13A}" dt="2017-12-19T13:21:54.974" v="1156" actId="20577"/>
          <ac:cxnSpMkLst>
            <pc:docMk/>
            <pc:sldMk cId="2932769781" sldId="352"/>
            <ac:cxnSpMk id="33" creationId="{1A1687A6-FCCD-49CB-99E4-129D90A6AABE}"/>
          </ac:cxnSpMkLst>
        </pc:cxnChg>
      </pc:sldChg>
      <pc:sldChg chg="modSp add ord">
        <pc:chgData name="Mark Grimes" userId="b58058b7-2ab8-4142-95e7-f7e306e81118" providerId="ADAL" clId="{24B37D59-6E88-484A-9D02-55E6AB2AE13A}" dt="2017-12-20T04:04:10.446" v="2941" actId="20577"/>
        <pc:sldMkLst>
          <pc:docMk/>
          <pc:sldMk cId="306543452" sldId="353"/>
        </pc:sldMkLst>
        <pc:spChg chg="mod">
          <ac:chgData name="Mark Grimes" userId="b58058b7-2ab8-4142-95e7-f7e306e81118" providerId="ADAL" clId="{24B37D59-6E88-484A-9D02-55E6AB2AE13A}" dt="2017-12-20T04:03:31.301" v="2936" actId="20577"/>
          <ac:spMkLst>
            <pc:docMk/>
            <pc:sldMk cId="306543452" sldId="353"/>
            <ac:spMk id="5" creationId="{00000000-0000-0000-0000-000000000000}"/>
          </ac:spMkLst>
        </pc:spChg>
        <pc:spChg chg="mod">
          <ac:chgData name="Mark Grimes" userId="b58058b7-2ab8-4142-95e7-f7e306e81118" providerId="ADAL" clId="{24B37D59-6E88-484A-9D02-55E6AB2AE13A}" dt="2017-12-20T04:03:40.279" v="2940" actId="5793"/>
          <ac:spMkLst>
            <pc:docMk/>
            <pc:sldMk cId="306543452" sldId="353"/>
            <ac:spMk id="6" creationId="{00000000-0000-0000-0000-000000000000}"/>
          </ac:spMkLst>
        </pc:spChg>
      </pc:sldChg>
      <pc:sldChg chg="add">
        <pc:chgData name="Mark Grimes" userId="b58058b7-2ab8-4142-95e7-f7e306e81118" providerId="ADAL" clId="{24B37D59-6E88-484A-9D02-55E6AB2AE13A}" dt="2017-12-19T13:21:54.974" v="1156" actId="20577"/>
        <pc:sldMkLst>
          <pc:docMk/>
          <pc:sldMk cId="3296651106" sldId="354"/>
        </pc:sldMkLst>
      </pc:sldChg>
      <pc:sldChg chg="add ord setBg">
        <pc:chgData name="Mark Grimes" userId="b58058b7-2ab8-4142-95e7-f7e306e81118" providerId="ADAL" clId="{24B37D59-6E88-484A-9D02-55E6AB2AE13A}" dt="2017-12-20T04:47:18.133" v="3756" actId="20577"/>
        <pc:sldMkLst>
          <pc:docMk/>
          <pc:sldMk cId="3765065382" sldId="355"/>
        </pc:sldMkLst>
      </pc:sldChg>
      <pc:sldChg chg="add ord setBg">
        <pc:chgData name="Mark Grimes" userId="b58058b7-2ab8-4142-95e7-f7e306e81118" providerId="ADAL" clId="{24B37D59-6E88-484A-9D02-55E6AB2AE13A}" dt="2017-12-20T04:47:18.133" v="3756" actId="20577"/>
        <pc:sldMkLst>
          <pc:docMk/>
          <pc:sldMk cId="1978489909" sldId="356"/>
        </pc:sldMkLst>
      </pc:sldChg>
      <pc:sldChg chg="add modTransition">
        <pc:chgData name="Mark Grimes" userId="b58058b7-2ab8-4142-95e7-f7e306e81118" providerId="ADAL" clId="{24B37D59-6E88-484A-9D02-55E6AB2AE13A}" dt="2017-12-20T19:19:15.429" v="6311" actId="20577"/>
        <pc:sldMkLst>
          <pc:docMk/>
          <pc:sldMk cId="3610748108" sldId="357"/>
        </pc:sldMkLst>
      </pc:sldChg>
      <pc:sldChg chg="add modTransition">
        <pc:chgData name="Mark Grimes" userId="b58058b7-2ab8-4142-95e7-f7e306e81118" providerId="ADAL" clId="{24B37D59-6E88-484A-9D02-55E6AB2AE13A}" dt="2017-12-20T19:19:15.429" v="6311" actId="20577"/>
        <pc:sldMkLst>
          <pc:docMk/>
          <pc:sldMk cId="841437543" sldId="358"/>
        </pc:sldMkLst>
      </pc:sldChg>
      <pc:sldChg chg="add modTransition">
        <pc:chgData name="Mark Grimes" userId="b58058b7-2ab8-4142-95e7-f7e306e81118" providerId="ADAL" clId="{24B37D59-6E88-484A-9D02-55E6AB2AE13A}" dt="2017-12-20T19:19:15.429" v="6311" actId="20577"/>
        <pc:sldMkLst>
          <pc:docMk/>
          <pc:sldMk cId="626808342" sldId="359"/>
        </pc:sldMkLst>
      </pc:sldChg>
      <pc:sldChg chg="add modTransition">
        <pc:chgData name="Mark Grimes" userId="b58058b7-2ab8-4142-95e7-f7e306e81118" providerId="ADAL" clId="{24B37D59-6E88-484A-9D02-55E6AB2AE13A}" dt="2017-12-20T19:19:15.429" v="6311" actId="20577"/>
        <pc:sldMkLst>
          <pc:docMk/>
          <pc:sldMk cId="1180501690" sldId="360"/>
        </pc:sldMkLst>
      </pc:sldChg>
      <pc:sldChg chg="add modTransition">
        <pc:chgData name="Mark Grimes" userId="b58058b7-2ab8-4142-95e7-f7e306e81118" providerId="ADAL" clId="{24B37D59-6E88-484A-9D02-55E6AB2AE13A}" dt="2017-12-20T19:19:15.429" v="6311" actId="20577"/>
        <pc:sldMkLst>
          <pc:docMk/>
          <pc:sldMk cId="496125525" sldId="361"/>
        </pc:sldMkLst>
      </pc:sldChg>
      <pc:sldChg chg="add modTransition">
        <pc:chgData name="Mark Grimes" userId="b58058b7-2ab8-4142-95e7-f7e306e81118" providerId="ADAL" clId="{24B37D59-6E88-484A-9D02-55E6AB2AE13A}" dt="2017-12-20T19:19:15.429" v="6311" actId="20577"/>
        <pc:sldMkLst>
          <pc:docMk/>
          <pc:sldMk cId="1950339991" sldId="362"/>
        </pc:sldMkLst>
      </pc:sldChg>
      <pc:sldChg chg="add modTransition">
        <pc:chgData name="Mark Grimes" userId="b58058b7-2ab8-4142-95e7-f7e306e81118" providerId="ADAL" clId="{24B37D59-6E88-484A-9D02-55E6AB2AE13A}" dt="2017-12-20T19:19:15.429" v="6311" actId="20577"/>
        <pc:sldMkLst>
          <pc:docMk/>
          <pc:sldMk cId="2381039785" sldId="363"/>
        </pc:sldMkLst>
      </pc:sldChg>
      <pc:sldChg chg="add modTransition">
        <pc:chgData name="Mark Grimes" userId="b58058b7-2ab8-4142-95e7-f7e306e81118" providerId="ADAL" clId="{24B37D59-6E88-484A-9D02-55E6AB2AE13A}" dt="2017-12-20T19:19:15.429" v="6311" actId="20577"/>
        <pc:sldMkLst>
          <pc:docMk/>
          <pc:sldMk cId="4059577728" sldId="364"/>
        </pc:sldMkLst>
      </pc:sldChg>
      <pc:sldChg chg="add modTransition">
        <pc:chgData name="Mark Grimes" userId="b58058b7-2ab8-4142-95e7-f7e306e81118" providerId="ADAL" clId="{24B37D59-6E88-484A-9D02-55E6AB2AE13A}" dt="2017-12-20T19:19:15.429" v="6311" actId="20577"/>
        <pc:sldMkLst>
          <pc:docMk/>
          <pc:sldMk cId="4268801466" sldId="365"/>
        </pc:sldMkLst>
      </pc:sldChg>
      <pc:sldChg chg="add modTransition">
        <pc:chgData name="Mark Grimes" userId="b58058b7-2ab8-4142-95e7-f7e306e81118" providerId="ADAL" clId="{24B37D59-6E88-484A-9D02-55E6AB2AE13A}" dt="2017-12-20T19:19:15.429" v="6311" actId="20577"/>
        <pc:sldMkLst>
          <pc:docMk/>
          <pc:sldMk cId="2419398205" sldId="366"/>
        </pc:sldMkLst>
      </pc:sldChg>
      <pc:sldChg chg="add modTransition">
        <pc:chgData name="Mark Grimes" userId="b58058b7-2ab8-4142-95e7-f7e306e81118" providerId="ADAL" clId="{24B37D59-6E88-484A-9D02-55E6AB2AE13A}" dt="2017-12-20T19:19:15.429" v="6311" actId="20577"/>
        <pc:sldMkLst>
          <pc:docMk/>
          <pc:sldMk cId="2418712355" sldId="367"/>
        </pc:sldMkLst>
      </pc:sldChg>
      <pc:sldChg chg="add ord">
        <pc:chgData name="Mark Grimes" userId="b58058b7-2ab8-4142-95e7-f7e306e81118" providerId="ADAL" clId="{24B37D59-6E88-484A-9D02-55E6AB2AE13A}" dt="2017-12-20T04:13:28.444" v="2982" actId="20577"/>
        <pc:sldMkLst>
          <pc:docMk/>
          <pc:sldMk cId="1548244161" sldId="368"/>
        </pc:sldMkLst>
      </pc:sldChg>
      <pc:sldChg chg="add">
        <pc:chgData name="Mark Grimes" userId="b58058b7-2ab8-4142-95e7-f7e306e81118" providerId="ADAL" clId="{24B37D59-6E88-484A-9D02-55E6AB2AE13A}" dt="2017-12-19T13:28:45.445" v="1219" actId="20577"/>
        <pc:sldMkLst>
          <pc:docMk/>
          <pc:sldMk cId="271980732" sldId="370"/>
        </pc:sldMkLst>
      </pc:sldChg>
      <pc:sldChg chg="add">
        <pc:chgData name="Mark Grimes" userId="b58058b7-2ab8-4142-95e7-f7e306e81118" providerId="ADAL" clId="{24B37D59-6E88-484A-9D02-55E6AB2AE13A}" dt="2017-12-19T13:28:45.445" v="1219" actId="20577"/>
        <pc:sldMkLst>
          <pc:docMk/>
          <pc:sldMk cId="4290491628" sldId="371"/>
        </pc:sldMkLst>
      </pc:sldChg>
      <pc:sldChg chg="add">
        <pc:chgData name="Mark Grimes" userId="b58058b7-2ab8-4142-95e7-f7e306e81118" providerId="ADAL" clId="{24B37D59-6E88-484A-9D02-55E6AB2AE13A}" dt="2017-12-19T13:28:45.445" v="1219" actId="20577"/>
        <pc:sldMkLst>
          <pc:docMk/>
          <pc:sldMk cId="1420190171" sldId="372"/>
        </pc:sldMkLst>
      </pc:sldChg>
      <pc:sldChg chg="add">
        <pc:chgData name="Mark Grimes" userId="b58058b7-2ab8-4142-95e7-f7e306e81118" providerId="ADAL" clId="{24B37D59-6E88-484A-9D02-55E6AB2AE13A}" dt="2017-12-19T13:28:45.445" v="1219" actId="20577"/>
        <pc:sldMkLst>
          <pc:docMk/>
          <pc:sldMk cId="2710947888" sldId="373"/>
        </pc:sldMkLst>
      </pc:sldChg>
      <pc:sldChg chg="add">
        <pc:chgData name="Mark Grimes" userId="b58058b7-2ab8-4142-95e7-f7e306e81118" providerId="ADAL" clId="{24B37D59-6E88-484A-9D02-55E6AB2AE13A}" dt="2017-12-19T13:28:45.445" v="1219" actId="20577"/>
        <pc:sldMkLst>
          <pc:docMk/>
          <pc:sldMk cId="438340348" sldId="374"/>
        </pc:sldMkLst>
      </pc:sldChg>
      <pc:sldChg chg="add">
        <pc:chgData name="Mark Grimes" userId="b58058b7-2ab8-4142-95e7-f7e306e81118" providerId="ADAL" clId="{24B37D59-6E88-484A-9D02-55E6AB2AE13A}" dt="2017-12-19T13:28:45.445" v="1219" actId="20577"/>
        <pc:sldMkLst>
          <pc:docMk/>
          <pc:sldMk cId="1461925981" sldId="375"/>
        </pc:sldMkLst>
      </pc:sldChg>
      <pc:sldChg chg="addSp modSp add setBg modNotesTx">
        <pc:chgData name="Mark Grimes" userId="b58058b7-2ab8-4142-95e7-f7e306e81118" providerId="ADAL" clId="{24B37D59-6E88-484A-9D02-55E6AB2AE13A}" dt="2017-12-20T15:03:57.584" v="4097" actId="20577"/>
        <pc:sldMkLst>
          <pc:docMk/>
          <pc:sldMk cId="1741879532" sldId="376"/>
        </pc:sldMkLst>
        <pc:spChg chg="add mod">
          <ac:chgData name="Mark Grimes" userId="b58058b7-2ab8-4142-95e7-f7e306e81118" providerId="ADAL" clId="{24B37D59-6E88-484A-9D02-55E6AB2AE13A}" dt="2017-12-19T14:55:37.972" v="1325" actId="1035"/>
          <ac:spMkLst>
            <pc:docMk/>
            <pc:sldMk cId="1741879532" sldId="376"/>
            <ac:spMk id="2" creationId="{FBF3379D-CEB3-49E8-B823-EF15BB9E110B}"/>
          </ac:spMkLst>
        </pc:spChg>
        <pc:spChg chg="mod">
          <ac:chgData name="Mark Grimes" userId="b58058b7-2ab8-4142-95e7-f7e306e81118" providerId="ADAL" clId="{24B37D59-6E88-484A-9D02-55E6AB2AE13A}" dt="2017-12-19T14:53:44.475" v="1255" actId="20577"/>
          <ac:spMkLst>
            <pc:docMk/>
            <pc:sldMk cId="1741879532" sldId="376"/>
            <ac:spMk id="4" creationId="{00000000-0000-0000-0000-000000000000}"/>
          </ac:spMkLst>
        </pc:spChg>
        <pc:spChg chg="add mod">
          <ac:chgData name="Mark Grimes" userId="b58058b7-2ab8-4142-95e7-f7e306e81118" providerId="ADAL" clId="{24B37D59-6E88-484A-9D02-55E6AB2AE13A}" dt="2017-12-19T14:54:58.491" v="1306" actId="164"/>
          <ac:spMkLst>
            <pc:docMk/>
            <pc:sldMk cId="1741879532" sldId="376"/>
            <ac:spMk id="5" creationId="{DBEBEB45-64EF-48CF-992C-35DBDEA30D00}"/>
          </ac:spMkLst>
        </pc:spChg>
        <pc:spChg chg="add mod">
          <ac:chgData name="Mark Grimes" userId="b58058b7-2ab8-4142-95e7-f7e306e81118" providerId="ADAL" clId="{24B37D59-6E88-484A-9D02-55E6AB2AE13A}" dt="2017-12-19T14:54:58.491" v="1306" actId="164"/>
          <ac:spMkLst>
            <pc:docMk/>
            <pc:sldMk cId="1741879532" sldId="376"/>
            <ac:spMk id="6" creationId="{2CB4F280-BCBE-4B53-A58F-01C7F17B8633}"/>
          </ac:spMkLst>
        </pc:spChg>
        <pc:spChg chg="add mod">
          <ac:chgData name="Mark Grimes" userId="b58058b7-2ab8-4142-95e7-f7e306e81118" providerId="ADAL" clId="{24B37D59-6E88-484A-9D02-55E6AB2AE13A}" dt="2017-12-19T14:54:58.491" v="1306" actId="164"/>
          <ac:spMkLst>
            <pc:docMk/>
            <pc:sldMk cId="1741879532" sldId="376"/>
            <ac:spMk id="7" creationId="{2BBBD9EF-B144-4453-BA49-1C7064AC5C7A}"/>
          </ac:spMkLst>
        </pc:spChg>
        <pc:spChg chg="add mod">
          <ac:chgData name="Mark Grimes" userId="b58058b7-2ab8-4142-95e7-f7e306e81118" providerId="ADAL" clId="{24B37D59-6E88-484A-9D02-55E6AB2AE13A}" dt="2017-12-19T14:54:58.491" v="1306" actId="164"/>
          <ac:spMkLst>
            <pc:docMk/>
            <pc:sldMk cId="1741879532" sldId="376"/>
            <ac:spMk id="8" creationId="{33165524-DD23-4085-BD84-AF21973FAE28}"/>
          </ac:spMkLst>
        </pc:spChg>
        <pc:spChg chg="add mod">
          <ac:chgData name="Mark Grimes" userId="b58058b7-2ab8-4142-95e7-f7e306e81118" providerId="ADAL" clId="{24B37D59-6E88-484A-9D02-55E6AB2AE13A}" dt="2017-12-19T14:54:58.491" v="1306" actId="164"/>
          <ac:spMkLst>
            <pc:docMk/>
            <pc:sldMk cId="1741879532" sldId="376"/>
            <ac:spMk id="9" creationId="{075F7463-76ED-4027-8266-835461B4B224}"/>
          </ac:spMkLst>
        </pc:spChg>
        <pc:spChg chg="add mod">
          <ac:chgData name="Mark Grimes" userId="b58058b7-2ab8-4142-95e7-f7e306e81118" providerId="ADAL" clId="{24B37D59-6E88-484A-9D02-55E6AB2AE13A}" dt="2017-12-19T14:54:58.491" v="1306" actId="164"/>
          <ac:spMkLst>
            <pc:docMk/>
            <pc:sldMk cId="1741879532" sldId="376"/>
            <ac:spMk id="10" creationId="{D6683CCC-028E-4390-8074-1487625DB9CF}"/>
          </ac:spMkLst>
        </pc:spChg>
        <pc:spChg chg="add mod">
          <ac:chgData name="Mark Grimes" userId="b58058b7-2ab8-4142-95e7-f7e306e81118" providerId="ADAL" clId="{24B37D59-6E88-484A-9D02-55E6AB2AE13A}" dt="2017-12-19T14:54:58.491" v="1306" actId="164"/>
          <ac:spMkLst>
            <pc:docMk/>
            <pc:sldMk cId="1741879532" sldId="376"/>
            <ac:spMk id="11" creationId="{3EA3D89C-1515-4B2F-AA5F-34D95DC54A0E}"/>
          </ac:spMkLst>
        </pc:spChg>
        <pc:spChg chg="add mod">
          <ac:chgData name="Mark Grimes" userId="b58058b7-2ab8-4142-95e7-f7e306e81118" providerId="ADAL" clId="{24B37D59-6E88-484A-9D02-55E6AB2AE13A}" dt="2017-12-19T14:54:58.491" v="1306" actId="164"/>
          <ac:spMkLst>
            <pc:docMk/>
            <pc:sldMk cId="1741879532" sldId="376"/>
            <ac:spMk id="12" creationId="{2CB6E239-B9E5-4BB9-9613-C1725AB6FF3C}"/>
          </ac:spMkLst>
        </pc:spChg>
        <pc:spChg chg="add mod">
          <ac:chgData name="Mark Grimes" userId="b58058b7-2ab8-4142-95e7-f7e306e81118" providerId="ADAL" clId="{24B37D59-6E88-484A-9D02-55E6AB2AE13A}" dt="2017-12-19T14:54:58.491" v="1306" actId="164"/>
          <ac:spMkLst>
            <pc:docMk/>
            <pc:sldMk cId="1741879532" sldId="376"/>
            <ac:spMk id="13" creationId="{4DAEFD9D-AE02-4BD3-9287-7AE026C8E9D9}"/>
          </ac:spMkLst>
        </pc:spChg>
        <pc:spChg chg="add mod">
          <ac:chgData name="Mark Grimes" userId="b58058b7-2ab8-4142-95e7-f7e306e81118" providerId="ADAL" clId="{24B37D59-6E88-484A-9D02-55E6AB2AE13A}" dt="2017-12-19T14:54:58.491" v="1306" actId="164"/>
          <ac:spMkLst>
            <pc:docMk/>
            <pc:sldMk cId="1741879532" sldId="376"/>
            <ac:spMk id="14" creationId="{43203A42-0161-4410-BB21-06DF3D56C819}"/>
          </ac:spMkLst>
        </pc:spChg>
        <pc:spChg chg="add mod">
          <ac:chgData name="Mark Grimes" userId="b58058b7-2ab8-4142-95e7-f7e306e81118" providerId="ADAL" clId="{24B37D59-6E88-484A-9D02-55E6AB2AE13A}" dt="2017-12-19T14:54:58.491" v="1306" actId="164"/>
          <ac:spMkLst>
            <pc:docMk/>
            <pc:sldMk cId="1741879532" sldId="376"/>
            <ac:spMk id="15" creationId="{C93BC507-C208-40DC-BEA8-A50EDFCCDF39}"/>
          </ac:spMkLst>
        </pc:spChg>
        <pc:spChg chg="add mod">
          <ac:chgData name="Mark Grimes" userId="b58058b7-2ab8-4142-95e7-f7e306e81118" providerId="ADAL" clId="{24B37D59-6E88-484A-9D02-55E6AB2AE13A}" dt="2017-12-19T14:54:58.491" v="1306" actId="164"/>
          <ac:spMkLst>
            <pc:docMk/>
            <pc:sldMk cId="1741879532" sldId="376"/>
            <ac:spMk id="16" creationId="{D8A60342-94D9-445A-8C41-0FBD75148EC5}"/>
          </ac:spMkLst>
        </pc:spChg>
        <pc:spChg chg="add mod">
          <ac:chgData name="Mark Grimes" userId="b58058b7-2ab8-4142-95e7-f7e306e81118" providerId="ADAL" clId="{24B37D59-6E88-484A-9D02-55E6AB2AE13A}" dt="2017-12-19T14:54:58.491" v="1306" actId="164"/>
          <ac:spMkLst>
            <pc:docMk/>
            <pc:sldMk cId="1741879532" sldId="376"/>
            <ac:spMk id="17" creationId="{F18CE3CE-AC16-4D0D-82D0-0557A8BDCB15}"/>
          </ac:spMkLst>
        </pc:spChg>
        <pc:spChg chg="add mod">
          <ac:chgData name="Mark Grimes" userId="b58058b7-2ab8-4142-95e7-f7e306e81118" providerId="ADAL" clId="{24B37D59-6E88-484A-9D02-55E6AB2AE13A}" dt="2017-12-19T14:54:58.491" v="1306" actId="164"/>
          <ac:spMkLst>
            <pc:docMk/>
            <pc:sldMk cId="1741879532" sldId="376"/>
            <ac:spMk id="18" creationId="{D6A5D970-B984-48CA-A35F-A4EEC4990E51}"/>
          </ac:spMkLst>
        </pc:spChg>
        <pc:spChg chg="add mod">
          <ac:chgData name="Mark Grimes" userId="b58058b7-2ab8-4142-95e7-f7e306e81118" providerId="ADAL" clId="{24B37D59-6E88-484A-9D02-55E6AB2AE13A}" dt="2017-12-19T14:54:58.491" v="1306" actId="164"/>
          <ac:spMkLst>
            <pc:docMk/>
            <pc:sldMk cId="1741879532" sldId="376"/>
            <ac:spMk id="19" creationId="{C51436C8-4336-4766-A932-6BCE214D7BE8}"/>
          </ac:spMkLst>
        </pc:spChg>
        <pc:spChg chg="add mod">
          <ac:chgData name="Mark Grimes" userId="b58058b7-2ab8-4142-95e7-f7e306e81118" providerId="ADAL" clId="{24B37D59-6E88-484A-9D02-55E6AB2AE13A}" dt="2017-12-19T14:54:58.491" v="1306" actId="164"/>
          <ac:spMkLst>
            <pc:docMk/>
            <pc:sldMk cId="1741879532" sldId="376"/>
            <ac:spMk id="20" creationId="{C7FBBE52-36BE-4DA5-BA08-AAAD3AC35464}"/>
          </ac:spMkLst>
        </pc:spChg>
        <pc:spChg chg="add mod">
          <ac:chgData name="Mark Grimes" userId="b58058b7-2ab8-4142-95e7-f7e306e81118" providerId="ADAL" clId="{24B37D59-6E88-484A-9D02-55E6AB2AE13A}" dt="2017-12-19T14:54:58.491" v="1306" actId="164"/>
          <ac:spMkLst>
            <pc:docMk/>
            <pc:sldMk cId="1741879532" sldId="376"/>
            <ac:spMk id="21" creationId="{2121F242-C329-4FF7-A635-D8F3643B4FF8}"/>
          </ac:spMkLst>
        </pc:spChg>
        <pc:spChg chg="add mod">
          <ac:chgData name="Mark Grimes" userId="b58058b7-2ab8-4142-95e7-f7e306e81118" providerId="ADAL" clId="{24B37D59-6E88-484A-9D02-55E6AB2AE13A}" dt="2017-12-19T14:54:58.491" v="1306" actId="164"/>
          <ac:spMkLst>
            <pc:docMk/>
            <pc:sldMk cId="1741879532" sldId="376"/>
            <ac:spMk id="22" creationId="{A885F496-684D-4779-B91F-D4607F58B5D5}"/>
          </ac:spMkLst>
        </pc:spChg>
        <pc:spChg chg="add mod">
          <ac:chgData name="Mark Grimes" userId="b58058b7-2ab8-4142-95e7-f7e306e81118" providerId="ADAL" clId="{24B37D59-6E88-484A-9D02-55E6AB2AE13A}" dt="2017-12-19T14:54:58.491" v="1306" actId="164"/>
          <ac:spMkLst>
            <pc:docMk/>
            <pc:sldMk cId="1741879532" sldId="376"/>
            <ac:spMk id="23" creationId="{AA823D53-1C1E-47FD-8629-8AFF03C9C0DC}"/>
          </ac:spMkLst>
        </pc:spChg>
        <pc:spChg chg="add mod">
          <ac:chgData name="Mark Grimes" userId="b58058b7-2ab8-4142-95e7-f7e306e81118" providerId="ADAL" clId="{24B37D59-6E88-484A-9D02-55E6AB2AE13A}" dt="2017-12-19T14:54:58.491" v="1306" actId="164"/>
          <ac:spMkLst>
            <pc:docMk/>
            <pc:sldMk cId="1741879532" sldId="376"/>
            <ac:spMk id="24" creationId="{3212D217-77C6-4AB3-9123-406B12CDB5C1}"/>
          </ac:spMkLst>
        </pc:spChg>
        <pc:spChg chg="add mod">
          <ac:chgData name="Mark Grimes" userId="b58058b7-2ab8-4142-95e7-f7e306e81118" providerId="ADAL" clId="{24B37D59-6E88-484A-9D02-55E6AB2AE13A}" dt="2017-12-19T14:54:58.491" v="1306" actId="164"/>
          <ac:spMkLst>
            <pc:docMk/>
            <pc:sldMk cId="1741879532" sldId="376"/>
            <ac:spMk id="25" creationId="{47AC9B04-8CC3-4F45-A212-74C5CEF23D64}"/>
          </ac:spMkLst>
        </pc:spChg>
        <pc:spChg chg="add mod">
          <ac:chgData name="Mark Grimes" userId="b58058b7-2ab8-4142-95e7-f7e306e81118" providerId="ADAL" clId="{24B37D59-6E88-484A-9D02-55E6AB2AE13A}" dt="2017-12-19T14:54:58.491" v="1306" actId="164"/>
          <ac:spMkLst>
            <pc:docMk/>
            <pc:sldMk cId="1741879532" sldId="376"/>
            <ac:spMk id="26" creationId="{7A2030B0-83E7-405C-93C2-E7C3B5C79FF2}"/>
          </ac:spMkLst>
        </pc:spChg>
        <pc:spChg chg="add mod">
          <ac:chgData name="Mark Grimes" userId="b58058b7-2ab8-4142-95e7-f7e306e81118" providerId="ADAL" clId="{24B37D59-6E88-484A-9D02-55E6AB2AE13A}" dt="2017-12-19T14:54:58.491" v="1306" actId="164"/>
          <ac:spMkLst>
            <pc:docMk/>
            <pc:sldMk cId="1741879532" sldId="376"/>
            <ac:spMk id="27" creationId="{5C2985AC-4124-428A-8626-1DD1ACC83B02}"/>
          </ac:spMkLst>
        </pc:spChg>
        <pc:spChg chg="add mod">
          <ac:chgData name="Mark Grimes" userId="b58058b7-2ab8-4142-95e7-f7e306e81118" providerId="ADAL" clId="{24B37D59-6E88-484A-9D02-55E6AB2AE13A}" dt="2017-12-19T14:54:58.491" v="1306" actId="164"/>
          <ac:spMkLst>
            <pc:docMk/>
            <pc:sldMk cId="1741879532" sldId="376"/>
            <ac:spMk id="28" creationId="{03E79522-5639-4910-A5B1-468647CBE41F}"/>
          </ac:spMkLst>
        </pc:spChg>
        <pc:spChg chg="add mod">
          <ac:chgData name="Mark Grimes" userId="b58058b7-2ab8-4142-95e7-f7e306e81118" providerId="ADAL" clId="{24B37D59-6E88-484A-9D02-55E6AB2AE13A}" dt="2017-12-19T14:54:58.491" v="1306" actId="164"/>
          <ac:spMkLst>
            <pc:docMk/>
            <pc:sldMk cId="1741879532" sldId="376"/>
            <ac:spMk id="29" creationId="{A3BE35E3-1D40-459D-9143-7D5109DD12F9}"/>
          </ac:spMkLst>
        </pc:spChg>
        <pc:spChg chg="add mod">
          <ac:chgData name="Mark Grimes" userId="b58058b7-2ab8-4142-95e7-f7e306e81118" providerId="ADAL" clId="{24B37D59-6E88-484A-9D02-55E6AB2AE13A}" dt="2017-12-19T14:54:58.491" v="1306" actId="164"/>
          <ac:spMkLst>
            <pc:docMk/>
            <pc:sldMk cId="1741879532" sldId="376"/>
            <ac:spMk id="30" creationId="{18EC5096-ACD0-4AE8-9E0D-9A5035779355}"/>
          </ac:spMkLst>
        </pc:spChg>
        <pc:spChg chg="add mod">
          <ac:chgData name="Mark Grimes" userId="b58058b7-2ab8-4142-95e7-f7e306e81118" providerId="ADAL" clId="{24B37D59-6E88-484A-9D02-55E6AB2AE13A}" dt="2017-12-19T14:54:58.491" v="1306" actId="164"/>
          <ac:spMkLst>
            <pc:docMk/>
            <pc:sldMk cId="1741879532" sldId="376"/>
            <ac:spMk id="31" creationId="{188AF8C1-3942-4B91-A6BD-FF0530491940}"/>
          </ac:spMkLst>
        </pc:spChg>
        <pc:spChg chg="add mod">
          <ac:chgData name="Mark Grimes" userId="b58058b7-2ab8-4142-95e7-f7e306e81118" providerId="ADAL" clId="{24B37D59-6E88-484A-9D02-55E6AB2AE13A}" dt="2017-12-19T14:54:58.491" v="1306" actId="164"/>
          <ac:spMkLst>
            <pc:docMk/>
            <pc:sldMk cId="1741879532" sldId="376"/>
            <ac:spMk id="32" creationId="{325AC8B7-5835-486C-9410-C8DE9D496FAD}"/>
          </ac:spMkLst>
        </pc:spChg>
        <pc:spChg chg="add mod">
          <ac:chgData name="Mark Grimes" userId="b58058b7-2ab8-4142-95e7-f7e306e81118" providerId="ADAL" clId="{24B37D59-6E88-484A-9D02-55E6AB2AE13A}" dt="2017-12-19T14:54:58.491" v="1306" actId="164"/>
          <ac:spMkLst>
            <pc:docMk/>
            <pc:sldMk cId="1741879532" sldId="376"/>
            <ac:spMk id="33" creationId="{3975314C-19B2-4AEA-90E1-7A103338B8D7}"/>
          </ac:spMkLst>
        </pc:spChg>
        <pc:spChg chg="add mod">
          <ac:chgData name="Mark Grimes" userId="b58058b7-2ab8-4142-95e7-f7e306e81118" providerId="ADAL" clId="{24B37D59-6E88-484A-9D02-55E6AB2AE13A}" dt="2017-12-19T14:54:58.491" v="1306" actId="164"/>
          <ac:spMkLst>
            <pc:docMk/>
            <pc:sldMk cId="1741879532" sldId="376"/>
            <ac:spMk id="34" creationId="{50C680BE-8E40-4B44-B95A-C5AFB8E06C28}"/>
          </ac:spMkLst>
        </pc:spChg>
        <pc:spChg chg="add mod">
          <ac:chgData name="Mark Grimes" userId="b58058b7-2ab8-4142-95e7-f7e306e81118" providerId="ADAL" clId="{24B37D59-6E88-484A-9D02-55E6AB2AE13A}" dt="2017-12-19T14:54:58.491" v="1306" actId="164"/>
          <ac:spMkLst>
            <pc:docMk/>
            <pc:sldMk cId="1741879532" sldId="376"/>
            <ac:spMk id="35" creationId="{3117CEB3-8E1C-4E0B-A736-DC29E6FF2ED1}"/>
          </ac:spMkLst>
        </pc:spChg>
        <pc:spChg chg="add mod">
          <ac:chgData name="Mark Grimes" userId="b58058b7-2ab8-4142-95e7-f7e306e81118" providerId="ADAL" clId="{24B37D59-6E88-484A-9D02-55E6AB2AE13A}" dt="2017-12-19T14:54:58.491" v="1306" actId="164"/>
          <ac:spMkLst>
            <pc:docMk/>
            <pc:sldMk cId="1741879532" sldId="376"/>
            <ac:spMk id="36" creationId="{3D181AC2-A368-4C9D-9E43-C463C9E8E1E0}"/>
          </ac:spMkLst>
        </pc:spChg>
        <pc:spChg chg="add mod">
          <ac:chgData name="Mark Grimes" userId="b58058b7-2ab8-4142-95e7-f7e306e81118" providerId="ADAL" clId="{24B37D59-6E88-484A-9D02-55E6AB2AE13A}" dt="2017-12-19T14:54:58.491" v="1306" actId="164"/>
          <ac:spMkLst>
            <pc:docMk/>
            <pc:sldMk cId="1741879532" sldId="376"/>
            <ac:spMk id="37" creationId="{2D7B3D7C-5FE5-47CE-A4E7-86C05B74FF73}"/>
          </ac:spMkLst>
        </pc:spChg>
        <pc:spChg chg="add mod">
          <ac:chgData name="Mark Grimes" userId="b58058b7-2ab8-4142-95e7-f7e306e81118" providerId="ADAL" clId="{24B37D59-6E88-484A-9D02-55E6AB2AE13A}" dt="2017-12-19T14:54:58.491" v="1306" actId="164"/>
          <ac:spMkLst>
            <pc:docMk/>
            <pc:sldMk cId="1741879532" sldId="376"/>
            <ac:spMk id="38" creationId="{4E917A6D-2605-4DBA-A6D1-61AC43D27049}"/>
          </ac:spMkLst>
        </pc:spChg>
        <pc:spChg chg="add mod">
          <ac:chgData name="Mark Grimes" userId="b58058b7-2ab8-4142-95e7-f7e306e81118" providerId="ADAL" clId="{24B37D59-6E88-484A-9D02-55E6AB2AE13A}" dt="2017-12-19T14:54:58.491" v="1306" actId="164"/>
          <ac:spMkLst>
            <pc:docMk/>
            <pc:sldMk cId="1741879532" sldId="376"/>
            <ac:spMk id="39" creationId="{69B75934-E210-4B94-8B3F-B2B955A5F287}"/>
          </ac:spMkLst>
        </pc:spChg>
        <pc:spChg chg="add mod">
          <ac:chgData name="Mark Grimes" userId="b58058b7-2ab8-4142-95e7-f7e306e81118" providerId="ADAL" clId="{24B37D59-6E88-484A-9D02-55E6AB2AE13A}" dt="2017-12-19T14:54:58.491" v="1306" actId="164"/>
          <ac:spMkLst>
            <pc:docMk/>
            <pc:sldMk cId="1741879532" sldId="376"/>
            <ac:spMk id="40" creationId="{A4274DE5-F02C-478A-8E2B-5EFC09A69A6F}"/>
          </ac:spMkLst>
        </pc:spChg>
        <pc:spChg chg="add mod">
          <ac:chgData name="Mark Grimes" userId="b58058b7-2ab8-4142-95e7-f7e306e81118" providerId="ADAL" clId="{24B37D59-6E88-484A-9D02-55E6AB2AE13A}" dt="2017-12-19T14:54:58.491" v="1306" actId="164"/>
          <ac:spMkLst>
            <pc:docMk/>
            <pc:sldMk cId="1741879532" sldId="376"/>
            <ac:spMk id="41" creationId="{97EA1AB0-DC6E-4C25-AA4C-B4E7CF058790}"/>
          </ac:spMkLst>
        </pc:spChg>
        <pc:spChg chg="add mod">
          <ac:chgData name="Mark Grimes" userId="b58058b7-2ab8-4142-95e7-f7e306e81118" providerId="ADAL" clId="{24B37D59-6E88-484A-9D02-55E6AB2AE13A}" dt="2017-12-19T14:54:58.491" v="1306" actId="164"/>
          <ac:spMkLst>
            <pc:docMk/>
            <pc:sldMk cId="1741879532" sldId="376"/>
            <ac:spMk id="42" creationId="{A218514A-BE4F-4BF4-9766-50DCA4C89C56}"/>
          </ac:spMkLst>
        </pc:spChg>
        <pc:spChg chg="add mod">
          <ac:chgData name="Mark Grimes" userId="b58058b7-2ab8-4142-95e7-f7e306e81118" providerId="ADAL" clId="{24B37D59-6E88-484A-9D02-55E6AB2AE13A}" dt="2017-12-19T14:54:58.491" v="1306" actId="164"/>
          <ac:spMkLst>
            <pc:docMk/>
            <pc:sldMk cId="1741879532" sldId="376"/>
            <ac:spMk id="43" creationId="{301AE05A-D45E-4972-A1FB-5C8F707C2C16}"/>
          </ac:spMkLst>
        </pc:spChg>
        <pc:spChg chg="add mod">
          <ac:chgData name="Mark Grimes" userId="b58058b7-2ab8-4142-95e7-f7e306e81118" providerId="ADAL" clId="{24B37D59-6E88-484A-9D02-55E6AB2AE13A}" dt="2017-12-19T14:54:58.491" v="1306" actId="164"/>
          <ac:spMkLst>
            <pc:docMk/>
            <pc:sldMk cId="1741879532" sldId="376"/>
            <ac:spMk id="44" creationId="{5777E90E-D8FE-4D70-8940-12AF4B1E5A9A}"/>
          </ac:spMkLst>
        </pc:spChg>
        <pc:spChg chg="add mod">
          <ac:chgData name="Mark Grimes" userId="b58058b7-2ab8-4142-95e7-f7e306e81118" providerId="ADAL" clId="{24B37D59-6E88-484A-9D02-55E6AB2AE13A}" dt="2017-12-19T14:54:58.491" v="1306" actId="164"/>
          <ac:spMkLst>
            <pc:docMk/>
            <pc:sldMk cId="1741879532" sldId="376"/>
            <ac:spMk id="45" creationId="{A63F86E9-66B9-4778-9AED-3B5D7DF0CA8C}"/>
          </ac:spMkLst>
        </pc:spChg>
        <pc:spChg chg="add mod">
          <ac:chgData name="Mark Grimes" userId="b58058b7-2ab8-4142-95e7-f7e306e81118" providerId="ADAL" clId="{24B37D59-6E88-484A-9D02-55E6AB2AE13A}" dt="2017-12-19T14:54:58.491" v="1306" actId="164"/>
          <ac:spMkLst>
            <pc:docMk/>
            <pc:sldMk cId="1741879532" sldId="376"/>
            <ac:spMk id="46" creationId="{F952DE01-5E9F-4FC6-9AE4-8F96EDCC3741}"/>
          </ac:spMkLst>
        </pc:spChg>
        <pc:spChg chg="add mod">
          <ac:chgData name="Mark Grimes" userId="b58058b7-2ab8-4142-95e7-f7e306e81118" providerId="ADAL" clId="{24B37D59-6E88-484A-9D02-55E6AB2AE13A}" dt="2017-12-19T14:54:58.491" v="1306" actId="164"/>
          <ac:spMkLst>
            <pc:docMk/>
            <pc:sldMk cId="1741879532" sldId="376"/>
            <ac:spMk id="47" creationId="{A1EB26F9-94E4-4F9C-861D-D8E24BBB9A80}"/>
          </ac:spMkLst>
        </pc:spChg>
        <pc:spChg chg="add mod">
          <ac:chgData name="Mark Grimes" userId="b58058b7-2ab8-4142-95e7-f7e306e81118" providerId="ADAL" clId="{24B37D59-6E88-484A-9D02-55E6AB2AE13A}" dt="2017-12-19T14:54:58.491" v="1306" actId="164"/>
          <ac:spMkLst>
            <pc:docMk/>
            <pc:sldMk cId="1741879532" sldId="376"/>
            <ac:spMk id="48" creationId="{1EF0D373-0D62-4DA8-9A58-7B17A3BF20D1}"/>
          </ac:spMkLst>
        </pc:spChg>
        <pc:spChg chg="add mod">
          <ac:chgData name="Mark Grimes" userId="b58058b7-2ab8-4142-95e7-f7e306e81118" providerId="ADAL" clId="{24B37D59-6E88-484A-9D02-55E6AB2AE13A}" dt="2017-12-19T14:54:58.491" v="1306" actId="164"/>
          <ac:spMkLst>
            <pc:docMk/>
            <pc:sldMk cId="1741879532" sldId="376"/>
            <ac:spMk id="49" creationId="{7963D7D5-9041-4797-AF59-C0AAAD87B086}"/>
          </ac:spMkLst>
        </pc:spChg>
        <pc:spChg chg="add mod">
          <ac:chgData name="Mark Grimes" userId="b58058b7-2ab8-4142-95e7-f7e306e81118" providerId="ADAL" clId="{24B37D59-6E88-484A-9D02-55E6AB2AE13A}" dt="2017-12-19T14:54:58.491" v="1306" actId="164"/>
          <ac:spMkLst>
            <pc:docMk/>
            <pc:sldMk cId="1741879532" sldId="376"/>
            <ac:spMk id="50" creationId="{76FB49A9-E03B-46E2-9CF0-342AC5CD4271}"/>
          </ac:spMkLst>
        </pc:spChg>
        <pc:spChg chg="add mod">
          <ac:chgData name="Mark Grimes" userId="b58058b7-2ab8-4142-95e7-f7e306e81118" providerId="ADAL" clId="{24B37D59-6E88-484A-9D02-55E6AB2AE13A}" dt="2017-12-19T14:54:58.491" v="1306" actId="164"/>
          <ac:spMkLst>
            <pc:docMk/>
            <pc:sldMk cId="1741879532" sldId="376"/>
            <ac:spMk id="51" creationId="{8104717A-B1F6-457B-AAE2-E6230F9EA40A}"/>
          </ac:spMkLst>
        </pc:spChg>
        <pc:spChg chg="add mod">
          <ac:chgData name="Mark Grimes" userId="b58058b7-2ab8-4142-95e7-f7e306e81118" providerId="ADAL" clId="{24B37D59-6E88-484A-9D02-55E6AB2AE13A}" dt="2017-12-19T14:54:58.491" v="1306" actId="164"/>
          <ac:spMkLst>
            <pc:docMk/>
            <pc:sldMk cId="1741879532" sldId="376"/>
            <ac:spMk id="52" creationId="{372EF380-2FDD-4360-BAEC-39653F066D27}"/>
          </ac:spMkLst>
        </pc:spChg>
        <pc:spChg chg="add mod">
          <ac:chgData name="Mark Grimes" userId="b58058b7-2ab8-4142-95e7-f7e306e81118" providerId="ADAL" clId="{24B37D59-6E88-484A-9D02-55E6AB2AE13A}" dt="2017-12-19T14:54:58.491" v="1306" actId="164"/>
          <ac:spMkLst>
            <pc:docMk/>
            <pc:sldMk cId="1741879532" sldId="376"/>
            <ac:spMk id="53" creationId="{1FD536CF-07A0-4E75-A2AE-9D72D27BDE1A}"/>
          </ac:spMkLst>
        </pc:spChg>
        <pc:spChg chg="add mod">
          <ac:chgData name="Mark Grimes" userId="b58058b7-2ab8-4142-95e7-f7e306e81118" providerId="ADAL" clId="{24B37D59-6E88-484A-9D02-55E6AB2AE13A}" dt="2017-12-19T14:54:58.491" v="1306" actId="164"/>
          <ac:spMkLst>
            <pc:docMk/>
            <pc:sldMk cId="1741879532" sldId="376"/>
            <ac:spMk id="54" creationId="{B090770A-73BE-4762-85CF-6840F7CBAF22}"/>
          </ac:spMkLst>
        </pc:spChg>
        <pc:spChg chg="add mod">
          <ac:chgData name="Mark Grimes" userId="b58058b7-2ab8-4142-95e7-f7e306e81118" providerId="ADAL" clId="{24B37D59-6E88-484A-9D02-55E6AB2AE13A}" dt="2017-12-19T14:54:58.491" v="1306" actId="164"/>
          <ac:spMkLst>
            <pc:docMk/>
            <pc:sldMk cId="1741879532" sldId="376"/>
            <ac:spMk id="55" creationId="{30E38FC6-8E44-4B2C-BF03-D1A3EC96C704}"/>
          </ac:spMkLst>
        </pc:spChg>
        <pc:spChg chg="add mod">
          <ac:chgData name="Mark Grimes" userId="b58058b7-2ab8-4142-95e7-f7e306e81118" providerId="ADAL" clId="{24B37D59-6E88-484A-9D02-55E6AB2AE13A}" dt="2017-12-19T14:54:58.491" v="1306" actId="164"/>
          <ac:spMkLst>
            <pc:docMk/>
            <pc:sldMk cId="1741879532" sldId="376"/>
            <ac:spMk id="56" creationId="{E0C886E5-C568-4884-8AAD-BE29BA352C88}"/>
          </ac:spMkLst>
        </pc:spChg>
        <pc:spChg chg="add mod">
          <ac:chgData name="Mark Grimes" userId="b58058b7-2ab8-4142-95e7-f7e306e81118" providerId="ADAL" clId="{24B37D59-6E88-484A-9D02-55E6AB2AE13A}" dt="2017-12-19T14:54:58.491" v="1306" actId="164"/>
          <ac:spMkLst>
            <pc:docMk/>
            <pc:sldMk cId="1741879532" sldId="376"/>
            <ac:spMk id="57" creationId="{2A272EE0-BCC2-49D5-8DDC-06EFEC659C42}"/>
          </ac:spMkLst>
        </pc:spChg>
        <pc:spChg chg="add mod">
          <ac:chgData name="Mark Grimes" userId="b58058b7-2ab8-4142-95e7-f7e306e81118" providerId="ADAL" clId="{24B37D59-6E88-484A-9D02-55E6AB2AE13A}" dt="2017-12-19T14:54:58.491" v="1306" actId="164"/>
          <ac:spMkLst>
            <pc:docMk/>
            <pc:sldMk cId="1741879532" sldId="376"/>
            <ac:spMk id="58" creationId="{28D30913-B90D-4087-B86B-41C9FEF8F001}"/>
          </ac:spMkLst>
        </pc:spChg>
        <pc:spChg chg="add mod">
          <ac:chgData name="Mark Grimes" userId="b58058b7-2ab8-4142-95e7-f7e306e81118" providerId="ADAL" clId="{24B37D59-6E88-484A-9D02-55E6AB2AE13A}" dt="2017-12-19T14:54:58.491" v="1306" actId="164"/>
          <ac:spMkLst>
            <pc:docMk/>
            <pc:sldMk cId="1741879532" sldId="376"/>
            <ac:spMk id="59" creationId="{7BB8925B-BB32-48C7-AD7F-5D088DC9F470}"/>
          </ac:spMkLst>
        </pc:spChg>
        <pc:spChg chg="add mod">
          <ac:chgData name="Mark Grimes" userId="b58058b7-2ab8-4142-95e7-f7e306e81118" providerId="ADAL" clId="{24B37D59-6E88-484A-9D02-55E6AB2AE13A}" dt="2017-12-19T14:54:58.491" v="1306" actId="164"/>
          <ac:spMkLst>
            <pc:docMk/>
            <pc:sldMk cId="1741879532" sldId="376"/>
            <ac:spMk id="60" creationId="{79F288DE-F907-40F2-86FA-0E8FBAEF2B1D}"/>
          </ac:spMkLst>
        </pc:spChg>
        <pc:spChg chg="add mod">
          <ac:chgData name="Mark Grimes" userId="b58058b7-2ab8-4142-95e7-f7e306e81118" providerId="ADAL" clId="{24B37D59-6E88-484A-9D02-55E6AB2AE13A}" dt="2017-12-19T14:54:58.491" v="1306" actId="164"/>
          <ac:spMkLst>
            <pc:docMk/>
            <pc:sldMk cId="1741879532" sldId="376"/>
            <ac:spMk id="61" creationId="{1C6D8644-B87A-4DB1-B2C7-49F4DC0AB189}"/>
          </ac:spMkLst>
        </pc:spChg>
        <pc:spChg chg="add mod">
          <ac:chgData name="Mark Grimes" userId="b58058b7-2ab8-4142-95e7-f7e306e81118" providerId="ADAL" clId="{24B37D59-6E88-484A-9D02-55E6AB2AE13A}" dt="2017-12-19T14:54:58.491" v="1306" actId="164"/>
          <ac:spMkLst>
            <pc:docMk/>
            <pc:sldMk cId="1741879532" sldId="376"/>
            <ac:spMk id="62" creationId="{B78845BA-72A0-42DF-9A27-E8E5AB023817}"/>
          </ac:spMkLst>
        </pc:spChg>
        <pc:spChg chg="add mod">
          <ac:chgData name="Mark Grimes" userId="b58058b7-2ab8-4142-95e7-f7e306e81118" providerId="ADAL" clId="{24B37D59-6E88-484A-9D02-55E6AB2AE13A}" dt="2017-12-19T14:54:58.491" v="1306" actId="164"/>
          <ac:spMkLst>
            <pc:docMk/>
            <pc:sldMk cId="1741879532" sldId="376"/>
            <ac:spMk id="63" creationId="{72194948-1181-4B1B-A93D-B6EE606BA9E0}"/>
          </ac:spMkLst>
        </pc:spChg>
        <pc:spChg chg="add mod">
          <ac:chgData name="Mark Grimes" userId="b58058b7-2ab8-4142-95e7-f7e306e81118" providerId="ADAL" clId="{24B37D59-6E88-484A-9D02-55E6AB2AE13A}" dt="2017-12-19T14:54:58.491" v="1306" actId="164"/>
          <ac:spMkLst>
            <pc:docMk/>
            <pc:sldMk cId="1741879532" sldId="376"/>
            <ac:spMk id="64" creationId="{4603C0E3-19F2-4BED-A7A6-2E634E4E7490}"/>
          </ac:spMkLst>
        </pc:spChg>
        <pc:spChg chg="add mod">
          <ac:chgData name="Mark Grimes" userId="b58058b7-2ab8-4142-95e7-f7e306e81118" providerId="ADAL" clId="{24B37D59-6E88-484A-9D02-55E6AB2AE13A}" dt="2017-12-19T14:54:58.491" v="1306" actId="164"/>
          <ac:spMkLst>
            <pc:docMk/>
            <pc:sldMk cId="1741879532" sldId="376"/>
            <ac:spMk id="65" creationId="{CFB63663-C469-486D-BF21-F428DD7B7588}"/>
          </ac:spMkLst>
        </pc:spChg>
        <pc:spChg chg="add mod">
          <ac:chgData name="Mark Grimes" userId="b58058b7-2ab8-4142-95e7-f7e306e81118" providerId="ADAL" clId="{24B37D59-6E88-484A-9D02-55E6AB2AE13A}" dt="2017-12-19T14:54:58.491" v="1306" actId="164"/>
          <ac:spMkLst>
            <pc:docMk/>
            <pc:sldMk cId="1741879532" sldId="376"/>
            <ac:spMk id="66" creationId="{9CD4112C-8981-4C8C-A6C7-A8A961639417}"/>
          </ac:spMkLst>
        </pc:spChg>
        <pc:spChg chg="add mod">
          <ac:chgData name="Mark Grimes" userId="b58058b7-2ab8-4142-95e7-f7e306e81118" providerId="ADAL" clId="{24B37D59-6E88-484A-9D02-55E6AB2AE13A}" dt="2017-12-19T14:54:58.491" v="1306" actId="164"/>
          <ac:spMkLst>
            <pc:docMk/>
            <pc:sldMk cId="1741879532" sldId="376"/>
            <ac:spMk id="67" creationId="{FDFF1CD7-546E-4241-A425-DA016B233BBE}"/>
          </ac:spMkLst>
        </pc:spChg>
        <pc:spChg chg="add mod">
          <ac:chgData name="Mark Grimes" userId="b58058b7-2ab8-4142-95e7-f7e306e81118" providerId="ADAL" clId="{24B37D59-6E88-484A-9D02-55E6AB2AE13A}" dt="2017-12-19T14:54:58.491" v="1306" actId="164"/>
          <ac:spMkLst>
            <pc:docMk/>
            <pc:sldMk cId="1741879532" sldId="376"/>
            <ac:spMk id="68" creationId="{4F957B80-0D11-4DDF-8E14-755CBE443729}"/>
          </ac:spMkLst>
        </pc:spChg>
        <pc:spChg chg="add mod">
          <ac:chgData name="Mark Grimes" userId="b58058b7-2ab8-4142-95e7-f7e306e81118" providerId="ADAL" clId="{24B37D59-6E88-484A-9D02-55E6AB2AE13A}" dt="2017-12-19T14:54:58.491" v="1306" actId="164"/>
          <ac:spMkLst>
            <pc:docMk/>
            <pc:sldMk cId="1741879532" sldId="376"/>
            <ac:spMk id="69" creationId="{C12B8C04-8CF3-48C3-9942-5501FA2E9D55}"/>
          </ac:spMkLst>
        </pc:spChg>
        <pc:spChg chg="add mod">
          <ac:chgData name="Mark Grimes" userId="b58058b7-2ab8-4142-95e7-f7e306e81118" providerId="ADAL" clId="{24B37D59-6E88-484A-9D02-55E6AB2AE13A}" dt="2017-12-19T14:54:58.491" v="1306" actId="164"/>
          <ac:spMkLst>
            <pc:docMk/>
            <pc:sldMk cId="1741879532" sldId="376"/>
            <ac:spMk id="70" creationId="{F7E55B45-5BDA-4D69-B202-2F65411DD5A5}"/>
          </ac:spMkLst>
        </pc:spChg>
        <pc:spChg chg="add mod">
          <ac:chgData name="Mark Grimes" userId="b58058b7-2ab8-4142-95e7-f7e306e81118" providerId="ADAL" clId="{24B37D59-6E88-484A-9D02-55E6AB2AE13A}" dt="2017-12-19T14:54:58.491" v="1306" actId="164"/>
          <ac:spMkLst>
            <pc:docMk/>
            <pc:sldMk cId="1741879532" sldId="376"/>
            <ac:spMk id="71" creationId="{1068B70D-0A07-4CC3-B2A8-53F3FCB2786E}"/>
          </ac:spMkLst>
        </pc:spChg>
        <pc:spChg chg="add mod">
          <ac:chgData name="Mark Grimes" userId="b58058b7-2ab8-4142-95e7-f7e306e81118" providerId="ADAL" clId="{24B37D59-6E88-484A-9D02-55E6AB2AE13A}" dt="2017-12-19T14:54:58.491" v="1306" actId="164"/>
          <ac:spMkLst>
            <pc:docMk/>
            <pc:sldMk cId="1741879532" sldId="376"/>
            <ac:spMk id="72" creationId="{643E1E83-04E6-4C0E-A5CA-421257A4BCAE}"/>
          </ac:spMkLst>
        </pc:spChg>
        <pc:spChg chg="add mod">
          <ac:chgData name="Mark Grimes" userId="b58058b7-2ab8-4142-95e7-f7e306e81118" providerId="ADAL" clId="{24B37D59-6E88-484A-9D02-55E6AB2AE13A}" dt="2017-12-19T14:54:58.491" v="1306" actId="164"/>
          <ac:spMkLst>
            <pc:docMk/>
            <pc:sldMk cId="1741879532" sldId="376"/>
            <ac:spMk id="73" creationId="{66807991-852D-4021-8BD4-249531452575}"/>
          </ac:spMkLst>
        </pc:spChg>
        <pc:spChg chg="add mod">
          <ac:chgData name="Mark Grimes" userId="b58058b7-2ab8-4142-95e7-f7e306e81118" providerId="ADAL" clId="{24B37D59-6E88-484A-9D02-55E6AB2AE13A}" dt="2017-12-19T14:54:58.491" v="1306" actId="164"/>
          <ac:spMkLst>
            <pc:docMk/>
            <pc:sldMk cId="1741879532" sldId="376"/>
            <ac:spMk id="74" creationId="{970542C6-AE3D-405E-AED3-3DCF81D35973}"/>
          </ac:spMkLst>
        </pc:spChg>
        <pc:spChg chg="add mod">
          <ac:chgData name="Mark Grimes" userId="b58058b7-2ab8-4142-95e7-f7e306e81118" providerId="ADAL" clId="{24B37D59-6E88-484A-9D02-55E6AB2AE13A}" dt="2017-12-19T14:54:58.491" v="1306" actId="164"/>
          <ac:spMkLst>
            <pc:docMk/>
            <pc:sldMk cId="1741879532" sldId="376"/>
            <ac:spMk id="75" creationId="{FFE4AEF7-773D-49C2-901E-BABE697B3162}"/>
          </ac:spMkLst>
        </pc:spChg>
        <pc:spChg chg="add mod">
          <ac:chgData name="Mark Grimes" userId="b58058b7-2ab8-4142-95e7-f7e306e81118" providerId="ADAL" clId="{24B37D59-6E88-484A-9D02-55E6AB2AE13A}" dt="2017-12-19T14:54:58.491" v="1306" actId="164"/>
          <ac:spMkLst>
            <pc:docMk/>
            <pc:sldMk cId="1741879532" sldId="376"/>
            <ac:spMk id="76" creationId="{2B50DC99-4E49-4575-B2D0-9F3CB4D3F86A}"/>
          </ac:spMkLst>
        </pc:spChg>
        <pc:spChg chg="add mod">
          <ac:chgData name="Mark Grimes" userId="b58058b7-2ab8-4142-95e7-f7e306e81118" providerId="ADAL" clId="{24B37D59-6E88-484A-9D02-55E6AB2AE13A}" dt="2017-12-19T14:54:58.491" v="1306" actId="164"/>
          <ac:spMkLst>
            <pc:docMk/>
            <pc:sldMk cId="1741879532" sldId="376"/>
            <ac:spMk id="77" creationId="{67DB6EAB-6D27-4AFA-A78D-968EF1A41015}"/>
          </ac:spMkLst>
        </pc:spChg>
        <pc:spChg chg="add mod">
          <ac:chgData name="Mark Grimes" userId="b58058b7-2ab8-4142-95e7-f7e306e81118" providerId="ADAL" clId="{24B37D59-6E88-484A-9D02-55E6AB2AE13A}" dt="2017-12-19T14:54:58.491" v="1306" actId="164"/>
          <ac:spMkLst>
            <pc:docMk/>
            <pc:sldMk cId="1741879532" sldId="376"/>
            <ac:spMk id="78" creationId="{EB74BA14-EB30-4DAA-B9E5-8D28DB530F99}"/>
          </ac:spMkLst>
        </pc:spChg>
        <pc:spChg chg="add mod">
          <ac:chgData name="Mark Grimes" userId="b58058b7-2ab8-4142-95e7-f7e306e81118" providerId="ADAL" clId="{24B37D59-6E88-484A-9D02-55E6AB2AE13A}" dt="2017-12-19T14:54:58.491" v="1306" actId="164"/>
          <ac:spMkLst>
            <pc:docMk/>
            <pc:sldMk cId="1741879532" sldId="376"/>
            <ac:spMk id="79" creationId="{DBFCA32B-86E1-4FB2-AA04-85DB8367AD63}"/>
          </ac:spMkLst>
        </pc:spChg>
        <pc:spChg chg="add mod">
          <ac:chgData name="Mark Grimes" userId="b58058b7-2ab8-4142-95e7-f7e306e81118" providerId="ADAL" clId="{24B37D59-6E88-484A-9D02-55E6AB2AE13A}" dt="2017-12-19T14:54:58.491" v="1306" actId="164"/>
          <ac:spMkLst>
            <pc:docMk/>
            <pc:sldMk cId="1741879532" sldId="376"/>
            <ac:spMk id="80" creationId="{990DDCAC-9EC9-4D34-BC68-63729E609B2D}"/>
          </ac:spMkLst>
        </pc:spChg>
        <pc:spChg chg="add mod">
          <ac:chgData name="Mark Grimes" userId="b58058b7-2ab8-4142-95e7-f7e306e81118" providerId="ADAL" clId="{24B37D59-6E88-484A-9D02-55E6AB2AE13A}" dt="2017-12-19T14:54:58.491" v="1306" actId="164"/>
          <ac:spMkLst>
            <pc:docMk/>
            <pc:sldMk cId="1741879532" sldId="376"/>
            <ac:spMk id="81" creationId="{250905C3-2B9D-4169-9A14-FF7BFD492D0B}"/>
          </ac:spMkLst>
        </pc:spChg>
        <pc:spChg chg="add mod">
          <ac:chgData name="Mark Grimes" userId="b58058b7-2ab8-4142-95e7-f7e306e81118" providerId="ADAL" clId="{24B37D59-6E88-484A-9D02-55E6AB2AE13A}" dt="2017-12-19T14:54:58.491" v="1306" actId="164"/>
          <ac:spMkLst>
            <pc:docMk/>
            <pc:sldMk cId="1741879532" sldId="376"/>
            <ac:spMk id="82" creationId="{654840DD-7574-4814-8BEC-4E731F27D2F3}"/>
          </ac:spMkLst>
        </pc:spChg>
        <pc:spChg chg="add mod">
          <ac:chgData name="Mark Grimes" userId="b58058b7-2ab8-4142-95e7-f7e306e81118" providerId="ADAL" clId="{24B37D59-6E88-484A-9D02-55E6AB2AE13A}" dt="2017-12-19T14:54:58.491" v="1306" actId="164"/>
          <ac:spMkLst>
            <pc:docMk/>
            <pc:sldMk cId="1741879532" sldId="376"/>
            <ac:spMk id="83" creationId="{B2CA48BA-33FC-457A-BE97-D2DA38FA2232}"/>
          </ac:spMkLst>
        </pc:spChg>
        <pc:spChg chg="add mod">
          <ac:chgData name="Mark Grimes" userId="b58058b7-2ab8-4142-95e7-f7e306e81118" providerId="ADAL" clId="{24B37D59-6E88-484A-9D02-55E6AB2AE13A}" dt="2017-12-19T14:54:58.491" v="1306" actId="164"/>
          <ac:spMkLst>
            <pc:docMk/>
            <pc:sldMk cId="1741879532" sldId="376"/>
            <ac:spMk id="84" creationId="{60ADDC9B-6763-42DF-B19D-643AE10705E3}"/>
          </ac:spMkLst>
        </pc:spChg>
        <pc:spChg chg="add mod">
          <ac:chgData name="Mark Grimes" userId="b58058b7-2ab8-4142-95e7-f7e306e81118" providerId="ADAL" clId="{24B37D59-6E88-484A-9D02-55E6AB2AE13A}" dt="2017-12-19T14:54:58.491" v="1306" actId="164"/>
          <ac:spMkLst>
            <pc:docMk/>
            <pc:sldMk cId="1741879532" sldId="376"/>
            <ac:spMk id="85" creationId="{F227AEC3-0202-4575-B385-CEB0BE071CD9}"/>
          </ac:spMkLst>
        </pc:spChg>
        <pc:spChg chg="add mod">
          <ac:chgData name="Mark Grimes" userId="b58058b7-2ab8-4142-95e7-f7e306e81118" providerId="ADAL" clId="{24B37D59-6E88-484A-9D02-55E6AB2AE13A}" dt="2017-12-19T14:54:58.491" v="1306" actId="164"/>
          <ac:spMkLst>
            <pc:docMk/>
            <pc:sldMk cId="1741879532" sldId="376"/>
            <ac:spMk id="86" creationId="{BE2C53CA-6759-443F-9B22-B09F921FA213}"/>
          </ac:spMkLst>
        </pc:spChg>
        <pc:spChg chg="add mod">
          <ac:chgData name="Mark Grimes" userId="b58058b7-2ab8-4142-95e7-f7e306e81118" providerId="ADAL" clId="{24B37D59-6E88-484A-9D02-55E6AB2AE13A}" dt="2017-12-19T14:54:58.491" v="1306" actId="164"/>
          <ac:spMkLst>
            <pc:docMk/>
            <pc:sldMk cId="1741879532" sldId="376"/>
            <ac:spMk id="87" creationId="{B0983C4D-2A5C-403E-B94D-E1427F67DDC0}"/>
          </ac:spMkLst>
        </pc:spChg>
        <pc:spChg chg="add mod">
          <ac:chgData name="Mark Grimes" userId="b58058b7-2ab8-4142-95e7-f7e306e81118" providerId="ADAL" clId="{24B37D59-6E88-484A-9D02-55E6AB2AE13A}" dt="2017-12-19T14:54:58.491" v="1306" actId="164"/>
          <ac:spMkLst>
            <pc:docMk/>
            <pc:sldMk cId="1741879532" sldId="376"/>
            <ac:spMk id="88" creationId="{465E18E3-D83B-445B-AB1D-A8E9490B6E0D}"/>
          </ac:spMkLst>
        </pc:spChg>
        <pc:spChg chg="add mod">
          <ac:chgData name="Mark Grimes" userId="b58058b7-2ab8-4142-95e7-f7e306e81118" providerId="ADAL" clId="{24B37D59-6E88-484A-9D02-55E6AB2AE13A}" dt="2017-12-19T14:54:58.491" v="1306" actId="164"/>
          <ac:spMkLst>
            <pc:docMk/>
            <pc:sldMk cId="1741879532" sldId="376"/>
            <ac:spMk id="89" creationId="{7F80D3D8-A54E-4D4C-829F-6111841CED29}"/>
          </ac:spMkLst>
        </pc:spChg>
        <pc:spChg chg="add mod">
          <ac:chgData name="Mark Grimes" userId="b58058b7-2ab8-4142-95e7-f7e306e81118" providerId="ADAL" clId="{24B37D59-6E88-484A-9D02-55E6AB2AE13A}" dt="2017-12-19T14:54:58.491" v="1306" actId="164"/>
          <ac:spMkLst>
            <pc:docMk/>
            <pc:sldMk cId="1741879532" sldId="376"/>
            <ac:spMk id="90" creationId="{E4730C0D-B972-41B0-8820-0FD83DF8A51A}"/>
          </ac:spMkLst>
        </pc:spChg>
        <pc:spChg chg="add mod">
          <ac:chgData name="Mark Grimes" userId="b58058b7-2ab8-4142-95e7-f7e306e81118" providerId="ADAL" clId="{24B37D59-6E88-484A-9D02-55E6AB2AE13A}" dt="2017-12-19T14:54:58.491" v="1306" actId="164"/>
          <ac:spMkLst>
            <pc:docMk/>
            <pc:sldMk cId="1741879532" sldId="376"/>
            <ac:spMk id="91" creationId="{3A5D308B-3202-4F75-A399-405C8F9DC0FA}"/>
          </ac:spMkLst>
        </pc:spChg>
        <pc:spChg chg="add mod">
          <ac:chgData name="Mark Grimes" userId="b58058b7-2ab8-4142-95e7-f7e306e81118" providerId="ADAL" clId="{24B37D59-6E88-484A-9D02-55E6AB2AE13A}" dt="2017-12-19T14:54:58.491" v="1306" actId="164"/>
          <ac:spMkLst>
            <pc:docMk/>
            <pc:sldMk cId="1741879532" sldId="376"/>
            <ac:spMk id="92" creationId="{EE79CFC8-8593-4172-A13B-49A04E8DE086}"/>
          </ac:spMkLst>
        </pc:spChg>
        <pc:spChg chg="add mod">
          <ac:chgData name="Mark Grimes" userId="b58058b7-2ab8-4142-95e7-f7e306e81118" providerId="ADAL" clId="{24B37D59-6E88-484A-9D02-55E6AB2AE13A}" dt="2017-12-19T14:54:58.491" v="1306" actId="164"/>
          <ac:spMkLst>
            <pc:docMk/>
            <pc:sldMk cId="1741879532" sldId="376"/>
            <ac:spMk id="93" creationId="{F4DE7940-9B73-4073-8E6F-44059093A667}"/>
          </ac:spMkLst>
        </pc:spChg>
        <pc:spChg chg="add mod">
          <ac:chgData name="Mark Grimes" userId="b58058b7-2ab8-4142-95e7-f7e306e81118" providerId="ADAL" clId="{24B37D59-6E88-484A-9D02-55E6AB2AE13A}" dt="2017-12-19T14:54:58.491" v="1306" actId="164"/>
          <ac:spMkLst>
            <pc:docMk/>
            <pc:sldMk cId="1741879532" sldId="376"/>
            <ac:spMk id="94" creationId="{92C77ADF-6F19-4EF0-95C5-D4F9AA82F28B}"/>
          </ac:spMkLst>
        </pc:spChg>
        <pc:spChg chg="add mod">
          <ac:chgData name="Mark Grimes" userId="b58058b7-2ab8-4142-95e7-f7e306e81118" providerId="ADAL" clId="{24B37D59-6E88-484A-9D02-55E6AB2AE13A}" dt="2017-12-19T14:54:58.491" v="1306" actId="164"/>
          <ac:spMkLst>
            <pc:docMk/>
            <pc:sldMk cId="1741879532" sldId="376"/>
            <ac:spMk id="95" creationId="{CFA49CDC-72B3-4ED3-8FCE-E4255FD87CF0}"/>
          </ac:spMkLst>
        </pc:spChg>
        <pc:spChg chg="add mod">
          <ac:chgData name="Mark Grimes" userId="b58058b7-2ab8-4142-95e7-f7e306e81118" providerId="ADAL" clId="{24B37D59-6E88-484A-9D02-55E6AB2AE13A}" dt="2017-12-19T14:54:58.491" v="1306" actId="164"/>
          <ac:spMkLst>
            <pc:docMk/>
            <pc:sldMk cId="1741879532" sldId="376"/>
            <ac:spMk id="96" creationId="{1EA6C107-EA42-4497-AE8F-5B2003156C0F}"/>
          </ac:spMkLst>
        </pc:spChg>
        <pc:spChg chg="add mod">
          <ac:chgData name="Mark Grimes" userId="b58058b7-2ab8-4142-95e7-f7e306e81118" providerId="ADAL" clId="{24B37D59-6E88-484A-9D02-55E6AB2AE13A}" dt="2017-12-19T14:54:58.491" v="1306" actId="164"/>
          <ac:spMkLst>
            <pc:docMk/>
            <pc:sldMk cId="1741879532" sldId="376"/>
            <ac:spMk id="97" creationId="{431655E4-0C46-4825-9D1C-DB2D888CDB93}"/>
          </ac:spMkLst>
        </pc:spChg>
        <pc:spChg chg="add mod">
          <ac:chgData name="Mark Grimes" userId="b58058b7-2ab8-4142-95e7-f7e306e81118" providerId="ADAL" clId="{24B37D59-6E88-484A-9D02-55E6AB2AE13A}" dt="2017-12-19T14:54:58.491" v="1306" actId="164"/>
          <ac:spMkLst>
            <pc:docMk/>
            <pc:sldMk cId="1741879532" sldId="376"/>
            <ac:spMk id="98" creationId="{3829D7E0-0C8C-4F7F-B5DF-5C53F59B93A0}"/>
          </ac:spMkLst>
        </pc:spChg>
        <pc:spChg chg="add mod">
          <ac:chgData name="Mark Grimes" userId="b58058b7-2ab8-4142-95e7-f7e306e81118" providerId="ADAL" clId="{24B37D59-6E88-484A-9D02-55E6AB2AE13A}" dt="2017-12-19T14:54:58.491" v="1306" actId="164"/>
          <ac:spMkLst>
            <pc:docMk/>
            <pc:sldMk cId="1741879532" sldId="376"/>
            <ac:spMk id="99" creationId="{7253A968-F94C-491D-950E-4DA5AAA7C4E9}"/>
          </ac:spMkLst>
        </pc:spChg>
        <pc:grpChg chg="add mod">
          <ac:chgData name="Mark Grimes" userId="b58058b7-2ab8-4142-95e7-f7e306e81118" providerId="ADAL" clId="{24B37D59-6E88-484A-9D02-55E6AB2AE13A}" dt="2017-12-19T14:55:26.955" v="1309" actId="1076"/>
          <ac:grpSpMkLst>
            <pc:docMk/>
            <pc:sldMk cId="1741879532" sldId="376"/>
            <ac:grpSpMk id="3" creationId="{FD74BCA5-55EB-479D-BDF6-FC1555192819}"/>
          </ac:grpSpMkLst>
        </pc:grpChg>
      </pc:sldChg>
      <pc:sldChg chg="addSp delSp modSp add setBg modNotesTx">
        <pc:chgData name="Mark Grimes" userId="b58058b7-2ab8-4142-95e7-f7e306e81118" providerId="ADAL" clId="{24B37D59-6E88-484A-9D02-55E6AB2AE13A}" dt="2017-12-20T04:46:51.442" v="3754" actId="20577"/>
        <pc:sldMkLst>
          <pc:docMk/>
          <pc:sldMk cId="3137864533" sldId="379"/>
        </pc:sldMkLst>
        <pc:spChg chg="mod">
          <ac:chgData name="Mark Grimes" userId="b58058b7-2ab8-4142-95e7-f7e306e81118" providerId="ADAL" clId="{24B37D59-6E88-484A-9D02-55E6AB2AE13A}" dt="2017-12-19T15:47:46.942" v="2198" actId="20577"/>
          <ac:spMkLst>
            <pc:docMk/>
            <pc:sldMk cId="3137864533" sldId="379"/>
            <ac:spMk id="4" creationId="{00000000-0000-0000-0000-000000000000}"/>
          </ac:spMkLst>
        </pc:spChg>
        <pc:picChg chg="add del">
          <ac:chgData name="Mark Grimes" userId="b58058b7-2ab8-4142-95e7-f7e306e81118" providerId="ADAL" clId="{24B37D59-6E88-484A-9D02-55E6AB2AE13A}" dt="2017-12-19T16:44:13.056" v="2212" actId="20577"/>
          <ac:picMkLst>
            <pc:docMk/>
            <pc:sldMk cId="3137864533" sldId="379"/>
            <ac:picMk id="3" creationId="{2C17ACAB-0EC5-437A-82AA-70824DD96D4E}"/>
          </ac:picMkLst>
        </pc:picChg>
        <pc:picChg chg="add mod">
          <ac:chgData name="Mark Grimes" userId="b58058b7-2ab8-4142-95e7-f7e306e81118" providerId="ADAL" clId="{24B37D59-6E88-484A-9D02-55E6AB2AE13A}" dt="2017-12-19T16:44:28.190" v="2214" actId="1076"/>
          <ac:picMkLst>
            <pc:docMk/>
            <pc:sldMk cId="3137864533" sldId="379"/>
            <ac:picMk id="5" creationId="{1E89C72B-2E14-480E-B436-02198A345119}"/>
          </ac:picMkLst>
        </pc:picChg>
      </pc:sldChg>
      <pc:sldChg chg="modSp add">
        <pc:chgData name="Mark Grimes" userId="b58058b7-2ab8-4142-95e7-f7e306e81118" providerId="ADAL" clId="{24B37D59-6E88-484A-9D02-55E6AB2AE13A}" dt="2017-12-19T16:50:31.036" v="2602" actId="113"/>
        <pc:sldMkLst>
          <pc:docMk/>
          <pc:sldMk cId="3317877341" sldId="380"/>
        </pc:sldMkLst>
        <pc:spChg chg="mod">
          <ac:chgData name="Mark Grimes" userId="b58058b7-2ab8-4142-95e7-f7e306e81118" providerId="ADAL" clId="{24B37D59-6E88-484A-9D02-55E6AB2AE13A}" dt="2017-12-19T16:50:31.036" v="2602" actId="113"/>
          <ac:spMkLst>
            <pc:docMk/>
            <pc:sldMk cId="3317877341" sldId="380"/>
            <ac:spMk id="5" creationId="{00000000-0000-0000-0000-000000000000}"/>
          </ac:spMkLst>
        </pc:spChg>
        <pc:spChg chg="mod">
          <ac:chgData name="Mark Grimes" userId="b58058b7-2ab8-4142-95e7-f7e306e81118" providerId="ADAL" clId="{24B37D59-6E88-484A-9D02-55E6AB2AE13A}" dt="2017-12-19T16:50:16.810" v="2601" actId="1076"/>
          <ac:spMkLst>
            <pc:docMk/>
            <pc:sldMk cId="3317877341" sldId="380"/>
            <ac:spMk id="10" creationId="{00000000-0000-0000-0000-000000000000}"/>
          </ac:spMkLst>
        </pc:spChg>
      </pc:sldChg>
      <pc:sldChg chg="modSp add">
        <pc:chgData name="Mark Grimes" userId="b58058b7-2ab8-4142-95e7-f7e306e81118" providerId="ADAL" clId="{24B37D59-6E88-484A-9D02-55E6AB2AE13A}" dt="2017-12-19T16:49:51.229" v="2599" actId="5793"/>
        <pc:sldMkLst>
          <pc:docMk/>
          <pc:sldMk cId="1176964639" sldId="381"/>
        </pc:sldMkLst>
        <pc:spChg chg="mod">
          <ac:chgData name="Mark Grimes" userId="b58058b7-2ab8-4142-95e7-f7e306e81118" providerId="ADAL" clId="{24B37D59-6E88-484A-9D02-55E6AB2AE13A}" dt="2017-12-19T16:49:51.229" v="2599" actId="5793"/>
          <ac:spMkLst>
            <pc:docMk/>
            <pc:sldMk cId="1176964639" sldId="381"/>
            <ac:spMk id="2" creationId="{00000000-0000-0000-0000-000000000000}"/>
          </ac:spMkLst>
        </pc:spChg>
      </pc:sldChg>
      <pc:sldChg chg="modSp add">
        <pc:chgData name="Mark Grimes" userId="b58058b7-2ab8-4142-95e7-f7e306e81118" providerId="ADAL" clId="{24B37D59-6E88-484A-9D02-55E6AB2AE13A}" dt="2017-12-19T16:38:11.958" v="2208" actId="20577"/>
        <pc:sldMkLst>
          <pc:docMk/>
          <pc:sldMk cId="1019085197" sldId="382"/>
        </pc:sldMkLst>
        <pc:spChg chg="mod">
          <ac:chgData name="Mark Grimes" userId="b58058b7-2ab8-4142-95e7-f7e306e81118" providerId="ADAL" clId="{24B37D59-6E88-484A-9D02-55E6AB2AE13A}" dt="2017-12-19T16:38:11.958" v="2208" actId="20577"/>
          <ac:spMkLst>
            <pc:docMk/>
            <pc:sldMk cId="1019085197" sldId="382"/>
            <ac:spMk id="8" creationId="{00000000-0000-0000-0000-000000000000}"/>
          </ac:spMkLst>
        </pc:spChg>
        <pc:spChg chg="mod">
          <ac:chgData name="Mark Grimes" userId="b58058b7-2ab8-4142-95e7-f7e306e81118" providerId="ADAL" clId="{24B37D59-6E88-484A-9D02-55E6AB2AE13A}" dt="2017-12-19T16:37:08.920" v="2205" actId="208"/>
          <ac:spMkLst>
            <pc:docMk/>
            <pc:sldMk cId="1019085197" sldId="382"/>
            <ac:spMk id="86" creationId="{00000000-0000-0000-0000-000000000000}"/>
          </ac:spMkLst>
        </pc:spChg>
        <pc:spChg chg="mod">
          <ac:chgData name="Mark Grimes" userId="b58058b7-2ab8-4142-95e7-f7e306e81118" providerId="ADAL" clId="{24B37D59-6E88-484A-9D02-55E6AB2AE13A}" dt="2017-12-19T16:36:47.619" v="2204" actId="20577"/>
          <ac:spMkLst>
            <pc:docMk/>
            <pc:sldMk cId="1019085197" sldId="382"/>
            <ac:spMk id="87" creationId="{00000000-0000-0000-0000-000000000000}"/>
          </ac:spMkLst>
        </pc:spChg>
        <pc:picChg chg="mod">
          <ac:chgData name="Mark Grimes" userId="b58058b7-2ab8-4142-95e7-f7e306e81118" providerId="ADAL" clId="{24B37D59-6E88-484A-9D02-55E6AB2AE13A}" dt="2017-12-19T16:37:31.096" v="2206" actId="1440"/>
          <ac:picMkLst>
            <pc:docMk/>
            <pc:sldMk cId="1019085197" sldId="382"/>
            <ac:picMk id="10" creationId="{00000000-0000-0000-0000-000000000000}"/>
          </ac:picMkLst>
        </pc:picChg>
      </pc:sldChg>
      <pc:sldChg chg="modSp add">
        <pc:chgData name="Mark Grimes" userId="b58058b7-2ab8-4142-95e7-f7e306e81118" providerId="ADAL" clId="{24B37D59-6E88-484A-9D02-55E6AB2AE13A}" dt="2017-12-19T16:49:16.479" v="2593" actId="5793"/>
        <pc:sldMkLst>
          <pc:docMk/>
          <pc:sldMk cId="2516319929" sldId="383"/>
        </pc:sldMkLst>
        <pc:spChg chg="mod">
          <ac:chgData name="Mark Grimes" userId="b58058b7-2ab8-4142-95e7-f7e306e81118" providerId="ADAL" clId="{24B37D59-6E88-484A-9D02-55E6AB2AE13A}" dt="2017-12-19T16:49:16.479" v="2593" actId="5793"/>
          <ac:spMkLst>
            <pc:docMk/>
            <pc:sldMk cId="2516319929" sldId="383"/>
            <ac:spMk id="2" creationId="{00000000-0000-0000-0000-000000000000}"/>
          </ac:spMkLst>
        </pc:spChg>
      </pc:sldChg>
      <pc:sldChg chg="add">
        <pc:chgData name="Mark Grimes" userId="b58058b7-2ab8-4142-95e7-f7e306e81118" providerId="ADAL" clId="{24B37D59-6E88-484A-9D02-55E6AB2AE13A}" dt="2017-12-19T16:49:01.380" v="2589" actId="20577"/>
        <pc:sldMkLst>
          <pc:docMk/>
          <pc:sldMk cId="4261520481" sldId="384"/>
        </pc:sldMkLst>
      </pc:sldChg>
      <pc:sldChg chg="addSp modSp add ord">
        <pc:chgData name="Mark Grimes" userId="b58058b7-2ab8-4142-95e7-f7e306e81118" providerId="ADAL" clId="{24B37D59-6E88-484A-9D02-55E6AB2AE13A}" dt="2017-12-20T15:02:13.589" v="4016" actId="20577"/>
        <pc:sldMkLst>
          <pc:docMk/>
          <pc:sldMk cId="188237552" sldId="393"/>
        </pc:sldMkLst>
        <pc:spChg chg="add mod">
          <ac:chgData name="Mark Grimes" userId="b58058b7-2ab8-4142-95e7-f7e306e81118" providerId="ADAL" clId="{24B37D59-6E88-484A-9D02-55E6AB2AE13A}" dt="2017-12-20T15:02:13.589" v="4016" actId="20577"/>
          <ac:spMkLst>
            <pc:docMk/>
            <pc:sldMk cId="188237552" sldId="393"/>
            <ac:spMk id="2" creationId="{801EFD66-CA38-44F7-B394-5E2CBFA674D0}"/>
          </ac:spMkLst>
        </pc:spChg>
        <pc:spChg chg="mod">
          <ac:chgData name="Mark Grimes" userId="b58058b7-2ab8-4142-95e7-f7e306e81118" providerId="ADAL" clId="{24B37D59-6E88-484A-9D02-55E6AB2AE13A}" dt="2017-12-20T03:43:03.244" v="2824" actId="20577"/>
          <ac:spMkLst>
            <pc:docMk/>
            <pc:sldMk cId="188237552" sldId="393"/>
            <ac:spMk id="9" creationId="{00000000-0000-0000-0000-000000000000}"/>
          </ac:spMkLst>
        </pc:spChg>
        <pc:spChg chg="mod">
          <ac:chgData name="Mark Grimes" userId="b58058b7-2ab8-4142-95e7-f7e306e81118" providerId="ADAL" clId="{24B37D59-6E88-484A-9D02-55E6AB2AE13A}" dt="2017-12-20T03:42:43.136" v="2821" actId="404"/>
          <ac:spMkLst>
            <pc:docMk/>
            <pc:sldMk cId="188237552" sldId="393"/>
            <ac:spMk id="10" creationId="{00000000-0000-0000-0000-000000000000}"/>
          </ac:spMkLst>
        </pc:spChg>
        <pc:spChg chg="mod">
          <ac:chgData name="Mark Grimes" userId="b58058b7-2ab8-4142-95e7-f7e306e81118" providerId="ADAL" clId="{24B37D59-6E88-484A-9D02-55E6AB2AE13A}" dt="2017-12-20T03:43:10.167" v="2825" actId="20577"/>
          <ac:spMkLst>
            <pc:docMk/>
            <pc:sldMk cId="188237552" sldId="393"/>
            <ac:spMk id="20" creationId="{00000000-0000-0000-0000-000000000000}"/>
          </ac:spMkLst>
        </pc:spChg>
        <pc:spChg chg="mod">
          <ac:chgData name="Mark Grimes" userId="b58058b7-2ab8-4142-95e7-f7e306e81118" providerId="ADAL" clId="{24B37D59-6E88-484A-9D02-55E6AB2AE13A}" dt="2017-12-20T03:42:50.094" v="2822" actId="404"/>
          <ac:spMkLst>
            <pc:docMk/>
            <pc:sldMk cId="188237552" sldId="393"/>
            <ac:spMk id="21" creationId="{00000000-0000-0000-0000-000000000000}"/>
          </ac:spMkLst>
        </pc:spChg>
        <pc:spChg chg="mod">
          <ac:chgData name="Mark Grimes" userId="b58058b7-2ab8-4142-95e7-f7e306e81118" providerId="ADAL" clId="{24B37D59-6E88-484A-9D02-55E6AB2AE13A}" dt="2017-12-20T03:43:16.627" v="2826" actId="20577"/>
          <ac:spMkLst>
            <pc:docMk/>
            <pc:sldMk cId="188237552" sldId="393"/>
            <ac:spMk id="23" creationId="{00000000-0000-0000-0000-000000000000}"/>
          </ac:spMkLst>
        </pc:spChg>
        <pc:spChg chg="mod">
          <ac:chgData name="Mark Grimes" userId="b58058b7-2ab8-4142-95e7-f7e306e81118" providerId="ADAL" clId="{24B37D59-6E88-484A-9D02-55E6AB2AE13A}" dt="2017-12-20T03:42:56.991" v="2823" actId="404"/>
          <ac:spMkLst>
            <pc:docMk/>
            <pc:sldMk cId="188237552" sldId="393"/>
            <ac:spMk id="24" creationId="{00000000-0000-0000-0000-000000000000}"/>
          </ac:spMkLst>
        </pc:spChg>
        <pc:grpChg chg="mod">
          <ac:chgData name="Mark Grimes" userId="b58058b7-2ab8-4142-95e7-f7e306e81118" providerId="ADAL" clId="{24B37D59-6E88-484A-9D02-55E6AB2AE13A}" dt="2017-12-20T03:42:02.692" v="2814" actId="14100"/>
          <ac:grpSpMkLst>
            <pc:docMk/>
            <pc:sldMk cId="188237552" sldId="393"/>
            <ac:grpSpMk id="4" creationId="{3B726263-509D-4152-A196-63FBB3206D29}"/>
          </ac:grpSpMkLst>
        </pc:grpChg>
        <pc:grpChg chg="mod">
          <ac:chgData name="Mark Grimes" userId="b58058b7-2ab8-4142-95e7-f7e306e81118" providerId="ADAL" clId="{24B37D59-6E88-484A-9D02-55E6AB2AE13A}" dt="2017-12-20T03:42:02.692" v="2814" actId="14100"/>
          <ac:grpSpMkLst>
            <pc:docMk/>
            <pc:sldMk cId="188237552" sldId="393"/>
            <ac:grpSpMk id="5" creationId="{83E97495-403F-46E5-97DC-A0D8A005983B}"/>
          </ac:grpSpMkLst>
        </pc:grpChg>
        <pc:grpChg chg="mod">
          <ac:chgData name="Mark Grimes" userId="b58058b7-2ab8-4142-95e7-f7e306e81118" providerId="ADAL" clId="{24B37D59-6E88-484A-9D02-55E6AB2AE13A}" dt="2017-12-20T03:42:02.692" v="2814" actId="14100"/>
          <ac:grpSpMkLst>
            <pc:docMk/>
            <pc:sldMk cId="188237552" sldId="393"/>
            <ac:grpSpMk id="6" creationId="{DDBFE528-CE34-4246-8C59-827A4BFB5AE4}"/>
          </ac:grpSpMkLst>
        </pc:grpChg>
        <pc:picChg chg="add mod">
          <ac:chgData name="Mark Grimes" userId="b58058b7-2ab8-4142-95e7-f7e306e81118" providerId="ADAL" clId="{24B37D59-6E88-484A-9D02-55E6AB2AE13A}" dt="2017-12-20T03:44:36.734" v="2829" actId="1440"/>
          <ac:picMkLst>
            <pc:docMk/>
            <pc:sldMk cId="188237552" sldId="393"/>
            <ac:picMk id="3" creationId="{5B6B46E8-584C-4D44-BDC6-98EEE0D53590}"/>
          </ac:picMkLst>
        </pc:picChg>
      </pc:sldChg>
      <pc:sldChg chg="add ord">
        <pc:chgData name="Mark Grimes" userId="b58058b7-2ab8-4142-95e7-f7e306e81118" providerId="ADAL" clId="{24B37D59-6E88-484A-9D02-55E6AB2AE13A}" dt="2017-12-20T03:50:01.009" v="2831" actId="20577"/>
        <pc:sldMkLst>
          <pc:docMk/>
          <pc:sldMk cId="1502123926" sldId="394"/>
        </pc:sldMkLst>
      </pc:sldChg>
      <pc:sldChg chg="addSp delSp modSp add">
        <pc:chgData name="Mark Grimes" userId="b58058b7-2ab8-4142-95e7-f7e306e81118" providerId="ADAL" clId="{24B37D59-6E88-484A-9D02-55E6AB2AE13A}" dt="2017-12-20T04:02:38.354" v="2917" actId="1076"/>
        <pc:sldMkLst>
          <pc:docMk/>
          <pc:sldMk cId="617025199" sldId="395"/>
        </pc:sldMkLst>
        <pc:spChg chg="add del mod">
          <ac:chgData name="Mark Grimes" userId="b58058b7-2ab8-4142-95e7-f7e306e81118" providerId="ADAL" clId="{24B37D59-6E88-484A-9D02-55E6AB2AE13A}" dt="2017-12-20T04:02:31.573" v="2916" actId="122"/>
          <ac:spMkLst>
            <pc:docMk/>
            <pc:sldMk cId="617025199" sldId="395"/>
            <ac:spMk id="4" creationId="{00000000-0000-0000-0000-000000000000}"/>
          </ac:spMkLst>
        </pc:spChg>
        <pc:spChg chg="add del">
          <ac:chgData name="Mark Grimes" userId="b58058b7-2ab8-4142-95e7-f7e306e81118" providerId="ADAL" clId="{24B37D59-6E88-484A-9D02-55E6AB2AE13A}" dt="2017-12-20T04:02:18.965" v="2912" actId="1076"/>
          <ac:spMkLst>
            <pc:docMk/>
            <pc:sldMk cId="617025199" sldId="395"/>
            <ac:spMk id="6" creationId="{82A83E38-F9E9-4A13-9C8C-7BB70ED58448}"/>
          </ac:spMkLst>
        </pc:spChg>
        <pc:picChg chg="add del mod">
          <ac:chgData name="Mark Grimes" userId="b58058b7-2ab8-4142-95e7-f7e306e81118" providerId="ADAL" clId="{24B37D59-6E88-484A-9D02-55E6AB2AE13A}" dt="2017-12-20T03:56:31.154" v="2894" actId="1076"/>
          <ac:picMkLst>
            <pc:docMk/>
            <pc:sldMk cId="617025199" sldId="395"/>
            <ac:picMk id="2" creationId="{A1B231A5-1AEE-45C4-B8C1-230636E10A1E}"/>
          </ac:picMkLst>
        </pc:picChg>
        <pc:picChg chg="add del mod">
          <ac:chgData name="Mark Grimes" userId="b58058b7-2ab8-4142-95e7-f7e306e81118" providerId="ADAL" clId="{24B37D59-6E88-484A-9D02-55E6AB2AE13A}" dt="2017-12-20T03:59:50.095" v="2902" actId="1076"/>
          <ac:picMkLst>
            <pc:docMk/>
            <pc:sldMk cId="617025199" sldId="395"/>
            <ac:picMk id="3" creationId="{B9C8EF4D-9AC3-475F-A526-2F84EADE666C}"/>
          </ac:picMkLst>
        </pc:picChg>
        <pc:picChg chg="add mod">
          <ac:chgData name="Mark Grimes" userId="b58058b7-2ab8-4142-95e7-f7e306e81118" providerId="ADAL" clId="{24B37D59-6E88-484A-9D02-55E6AB2AE13A}" dt="2017-12-20T04:02:38.354" v="2917" actId="1076"/>
          <ac:picMkLst>
            <pc:docMk/>
            <pc:sldMk cId="617025199" sldId="395"/>
            <ac:picMk id="5" creationId="{3150D461-8773-4681-B894-E0492BA228EA}"/>
          </ac:picMkLst>
        </pc:picChg>
      </pc:sldChg>
      <pc:sldChg chg="delSp modSp add">
        <pc:chgData name="Mark Grimes" userId="b58058b7-2ab8-4142-95e7-f7e306e81118" providerId="ADAL" clId="{24B37D59-6E88-484A-9D02-55E6AB2AE13A}" dt="2017-12-20T04:37:34.537" v="3583" actId="20577"/>
        <pc:sldMkLst>
          <pc:docMk/>
          <pc:sldMk cId="204176182" sldId="397"/>
        </pc:sldMkLst>
        <pc:spChg chg="mod">
          <ac:chgData name="Mark Grimes" userId="b58058b7-2ab8-4142-95e7-f7e306e81118" providerId="ADAL" clId="{24B37D59-6E88-484A-9D02-55E6AB2AE13A}" dt="2017-12-20T04:37:34.537" v="3583" actId="20577"/>
          <ac:spMkLst>
            <pc:docMk/>
            <pc:sldMk cId="204176182" sldId="397"/>
            <ac:spMk id="2" creationId="{00000000-0000-0000-0000-000000000000}"/>
          </ac:spMkLst>
        </pc:spChg>
        <pc:spChg chg="mod">
          <ac:chgData name="Mark Grimes" userId="b58058b7-2ab8-4142-95e7-f7e306e81118" providerId="ADAL" clId="{24B37D59-6E88-484A-9D02-55E6AB2AE13A}" dt="2017-12-20T04:15:04.074" v="3008" actId="20577"/>
          <ac:spMkLst>
            <pc:docMk/>
            <pc:sldMk cId="204176182" sldId="397"/>
            <ac:spMk id="3" creationId="{00000000-0000-0000-0000-000000000000}"/>
          </ac:spMkLst>
        </pc:spChg>
        <pc:picChg chg="del">
          <ac:chgData name="Mark Grimes" userId="b58058b7-2ab8-4142-95e7-f7e306e81118" providerId="ADAL" clId="{24B37D59-6E88-484A-9D02-55E6AB2AE13A}" dt="2017-12-20T04:21:33.612" v="3381" actId="478"/>
          <ac:picMkLst>
            <pc:docMk/>
            <pc:sldMk cId="204176182" sldId="397"/>
            <ac:picMk id="4" creationId="{00000000-0000-0000-0000-000000000000}"/>
          </ac:picMkLst>
        </pc:picChg>
      </pc:sldChg>
      <pc:sldChg chg="modSp add">
        <pc:chgData name="Mark Grimes" userId="b58058b7-2ab8-4142-95e7-f7e306e81118" providerId="ADAL" clId="{24B37D59-6E88-484A-9D02-55E6AB2AE13A}" dt="2017-12-20T04:42:11.108" v="3598" actId="20577"/>
        <pc:sldMkLst>
          <pc:docMk/>
          <pc:sldMk cId="2159062696" sldId="398"/>
        </pc:sldMkLst>
        <pc:spChg chg="mod">
          <ac:chgData name="Mark Grimes" userId="b58058b7-2ab8-4142-95e7-f7e306e81118" providerId="ADAL" clId="{24B37D59-6E88-484A-9D02-55E6AB2AE13A}" dt="2017-12-20T04:42:11.108" v="3598" actId="20577"/>
          <ac:spMkLst>
            <pc:docMk/>
            <pc:sldMk cId="2159062696" sldId="398"/>
            <ac:spMk id="2" creationId="{00000000-0000-0000-0000-000000000000}"/>
          </ac:spMkLst>
        </pc:spChg>
      </pc:sldChg>
      <pc:sldChg chg="addSp delSp modSp add setBg">
        <pc:chgData name="Mark Grimes" userId="b58058b7-2ab8-4142-95e7-f7e306e81118" providerId="ADAL" clId="{24B37D59-6E88-484A-9D02-55E6AB2AE13A}" dt="2017-12-20T17:58:06.027" v="4757" actId="1076"/>
        <pc:sldMkLst>
          <pc:docMk/>
          <pc:sldMk cId="3772659718" sldId="399"/>
        </pc:sldMkLst>
        <pc:spChg chg="mod">
          <ac:chgData name="Mark Grimes" userId="b58058b7-2ab8-4142-95e7-f7e306e81118" providerId="ADAL" clId="{24B37D59-6E88-484A-9D02-55E6AB2AE13A}" dt="2017-12-20T04:53:43.071" v="3883" actId="20577"/>
          <ac:spMkLst>
            <pc:docMk/>
            <pc:sldMk cId="3772659718" sldId="399"/>
            <ac:spMk id="2" creationId="{0586722D-B6BF-4D0F-9813-5DACC5BEA908}"/>
          </ac:spMkLst>
        </pc:spChg>
        <pc:graphicFrameChg chg="add del modGraphic">
          <ac:chgData name="Mark Grimes" userId="b58058b7-2ab8-4142-95e7-f7e306e81118" providerId="ADAL" clId="{24B37D59-6E88-484A-9D02-55E6AB2AE13A}" dt="2017-12-20T04:53:24.273" v="3862" actId="27309"/>
          <ac:graphicFrameMkLst>
            <pc:docMk/>
            <pc:sldMk cId="3772659718" sldId="399"/>
            <ac:graphicFrameMk id="4" creationId="{6D670D72-4591-4313-98C3-9112078409FD}"/>
          </ac:graphicFrameMkLst>
        </pc:graphicFrameChg>
        <pc:picChg chg="add mod">
          <ac:chgData name="Mark Grimes" userId="b58058b7-2ab8-4142-95e7-f7e306e81118" providerId="ADAL" clId="{24B37D59-6E88-484A-9D02-55E6AB2AE13A}" dt="2017-12-20T17:58:06.027" v="4757" actId="1076"/>
          <ac:picMkLst>
            <pc:docMk/>
            <pc:sldMk cId="3772659718" sldId="399"/>
            <ac:picMk id="3" creationId="{F002E854-8E41-41E8-BAAB-DADB812D65B2}"/>
          </ac:picMkLst>
        </pc:picChg>
      </pc:sldChg>
      <pc:sldChg chg="addSp delSp modSp add setBg">
        <pc:chgData name="Mark Grimes" userId="b58058b7-2ab8-4142-95e7-f7e306e81118" providerId="ADAL" clId="{24B37D59-6E88-484A-9D02-55E6AB2AE13A}" dt="2017-12-20T04:52:45.060" v="3857" actId="20577"/>
        <pc:sldMkLst>
          <pc:docMk/>
          <pc:sldMk cId="1112091592" sldId="400"/>
        </pc:sldMkLst>
        <pc:spChg chg="mod">
          <ac:chgData name="Mark Grimes" userId="b58058b7-2ab8-4142-95e7-f7e306e81118" providerId="ADAL" clId="{24B37D59-6E88-484A-9D02-55E6AB2AE13A}" dt="2017-12-20T04:51:59.448" v="3853" actId="122"/>
          <ac:spMkLst>
            <pc:docMk/>
            <pc:sldMk cId="1112091592" sldId="400"/>
            <ac:spMk id="4" creationId="{00000000-0000-0000-0000-000000000000}"/>
          </ac:spMkLst>
        </pc:spChg>
        <pc:picChg chg="del">
          <ac:chgData name="Mark Grimes" userId="b58058b7-2ab8-4142-95e7-f7e306e81118" providerId="ADAL" clId="{24B37D59-6E88-484A-9D02-55E6AB2AE13A}" dt="2017-12-20T04:52:01.420" v="3854" actId="478"/>
          <ac:picMkLst>
            <pc:docMk/>
            <pc:sldMk cId="1112091592" sldId="400"/>
            <ac:picMk id="5" creationId="{1E89C72B-2E14-480E-B436-02198A345119}"/>
          </ac:picMkLst>
        </pc:picChg>
        <pc:picChg chg="add mod">
          <ac:chgData name="Mark Grimes" userId="b58058b7-2ab8-4142-95e7-f7e306e81118" providerId="ADAL" clId="{24B37D59-6E88-484A-9D02-55E6AB2AE13A}" dt="2017-12-20T04:52:45.060" v="3857" actId="20577"/>
          <ac:picMkLst>
            <pc:docMk/>
            <pc:sldMk cId="1112091592" sldId="400"/>
            <ac:picMk id="6" creationId="{A63088C8-0FCD-4480-91AF-F1CD0277C89E}"/>
          </ac:picMkLst>
        </pc:picChg>
      </pc:sldChg>
      <pc:sldChg chg="addSp delSp modSp new add">
        <pc:chgData name="Mark Grimes" userId="b58058b7-2ab8-4142-95e7-f7e306e81118" providerId="ADAL" clId="{24B37D59-6E88-484A-9D02-55E6AB2AE13A}" dt="2017-12-20T04:56:40.697" v="3949" actId="1076"/>
        <pc:sldMkLst>
          <pc:docMk/>
          <pc:sldMk cId="1511898894" sldId="401"/>
        </pc:sldMkLst>
        <pc:spChg chg="mod">
          <ac:chgData name="Mark Grimes" userId="b58058b7-2ab8-4142-95e7-f7e306e81118" providerId="ADAL" clId="{24B37D59-6E88-484A-9D02-55E6AB2AE13A}" dt="2017-12-20T04:55:14.249" v="3917" actId="20577"/>
          <ac:spMkLst>
            <pc:docMk/>
            <pc:sldMk cId="1511898894" sldId="401"/>
            <ac:spMk id="2" creationId="{B8FDB6DA-CE98-49C8-A1D9-8DAB4B5DE984}"/>
          </ac:spMkLst>
        </pc:spChg>
        <pc:spChg chg="del">
          <ac:chgData name="Mark Grimes" userId="b58058b7-2ab8-4142-95e7-f7e306e81118" providerId="ADAL" clId="{24B37D59-6E88-484A-9D02-55E6AB2AE13A}" dt="2017-12-20T04:54:54.732" v="3885" actId="1076"/>
          <ac:spMkLst>
            <pc:docMk/>
            <pc:sldMk cId="1511898894" sldId="401"/>
            <ac:spMk id="3" creationId="{18ADABD3-CD87-4742-8C7C-57EE3100F14E}"/>
          </ac:spMkLst>
        </pc:spChg>
        <pc:graphicFrameChg chg="add mod modGraphic">
          <ac:chgData name="Mark Grimes" userId="b58058b7-2ab8-4142-95e7-f7e306e81118" providerId="ADAL" clId="{24B37D59-6E88-484A-9D02-55E6AB2AE13A}" dt="2017-12-20T04:56:40.697" v="3949" actId="1076"/>
          <ac:graphicFrameMkLst>
            <pc:docMk/>
            <pc:sldMk cId="1511898894" sldId="401"/>
            <ac:graphicFrameMk id="5" creationId="{F42F0C3D-4278-4905-A6DF-5070A358F135}"/>
          </ac:graphicFrameMkLst>
        </pc:graphicFrameChg>
      </pc:sldChg>
      <pc:sldChg chg="addSp delSp modSp add delAnim modAnim">
        <pc:chgData name="Mark Grimes" userId="b58058b7-2ab8-4142-95e7-f7e306e81118" providerId="ADAL" clId="{24B37D59-6E88-484A-9D02-55E6AB2AE13A}" dt="2017-12-20T18:06:55.711" v="5113" actId="20577"/>
        <pc:sldMkLst>
          <pc:docMk/>
          <pc:sldMk cId="3879511593" sldId="402"/>
        </pc:sldMkLst>
        <pc:spChg chg="mod">
          <ac:chgData name="Mark Grimes" userId="b58058b7-2ab8-4142-95e7-f7e306e81118" providerId="ADAL" clId="{24B37D59-6E88-484A-9D02-55E6AB2AE13A}" dt="2017-12-20T15:17:32.826" v="4349" actId="114"/>
          <ac:spMkLst>
            <pc:docMk/>
            <pc:sldMk cId="3879511593" sldId="402"/>
            <ac:spMk id="3" creationId="{00000000-0000-0000-0000-000000000000}"/>
          </ac:spMkLst>
        </pc:spChg>
        <pc:spChg chg="mod">
          <ac:chgData name="Mark Grimes" userId="b58058b7-2ab8-4142-95e7-f7e306e81118" providerId="ADAL" clId="{24B37D59-6E88-484A-9D02-55E6AB2AE13A}" dt="2017-12-20T18:01:17.500" v="5106" actId="20577"/>
          <ac:spMkLst>
            <pc:docMk/>
            <pc:sldMk cId="3879511593" sldId="402"/>
            <ac:spMk id="4" creationId="{00000000-0000-0000-0000-000000000000}"/>
          </ac:spMkLst>
        </pc:spChg>
        <pc:picChg chg="add mod">
          <ac:chgData name="Mark Grimes" userId="b58058b7-2ab8-4142-95e7-f7e306e81118" providerId="ADAL" clId="{24B37D59-6E88-484A-9D02-55E6AB2AE13A}" dt="2017-12-20T15:21:10.264" v="4353" actId="14100"/>
          <ac:picMkLst>
            <pc:docMk/>
            <pc:sldMk cId="3879511593" sldId="402"/>
            <ac:picMk id="2" creationId="{CF9627CD-DBE6-42FF-85C0-A1FEE21B0888}"/>
          </ac:picMkLst>
        </pc:picChg>
        <pc:picChg chg="add mod">
          <ac:chgData name="Mark Grimes" userId="b58058b7-2ab8-4142-95e7-f7e306e81118" providerId="ADAL" clId="{24B37D59-6E88-484A-9D02-55E6AB2AE13A}" dt="2017-12-20T18:06:29.081" v="5111" actId="14100"/>
          <ac:picMkLst>
            <pc:docMk/>
            <pc:sldMk cId="3879511593" sldId="402"/>
            <ac:picMk id="5" creationId="{077C6CDD-E5D6-46E9-8AD0-F185AC9C51EA}"/>
          </ac:picMkLst>
        </pc:picChg>
        <pc:picChg chg="del">
          <ac:chgData name="Mark Grimes" userId="b58058b7-2ab8-4142-95e7-f7e306e81118" providerId="ADAL" clId="{24B37D59-6E88-484A-9D02-55E6AB2AE13A}" dt="2017-12-20T15:17:35.771" v="4350" actId="478"/>
          <ac:picMkLst>
            <pc:docMk/>
            <pc:sldMk cId="3879511593" sldId="402"/>
            <ac:picMk id="5" creationId="{00000000-0000-0000-0000-000000000000}"/>
          </ac:picMkLst>
        </pc:picChg>
        <pc:picChg chg="add mod">
          <ac:chgData name="Mark Grimes" userId="b58058b7-2ab8-4142-95e7-f7e306e81118" providerId="ADAL" clId="{24B37D59-6E88-484A-9D02-55E6AB2AE13A}" dt="2017-12-20T15:21:48.157" v="4356" actId="14100"/>
          <ac:picMkLst>
            <pc:docMk/>
            <pc:sldMk cId="3879511593" sldId="402"/>
            <ac:picMk id="6" creationId="{E976D867-65E6-4258-A69C-7E255D11A795}"/>
          </ac:picMkLst>
        </pc:picChg>
        <pc:picChg chg="add mod">
          <ac:chgData name="Mark Grimes" userId="b58058b7-2ab8-4142-95e7-f7e306e81118" providerId="ADAL" clId="{24B37D59-6E88-484A-9D02-55E6AB2AE13A}" dt="2017-12-20T18:01:27.607" v="5108" actId="1076"/>
          <ac:picMkLst>
            <pc:docMk/>
            <pc:sldMk cId="3879511593" sldId="402"/>
            <ac:picMk id="7" creationId="{73B159AF-1627-40AF-A0E8-FA8D7B91C8F4}"/>
          </ac:picMkLst>
        </pc:picChg>
      </pc:sldChg>
      <pc:sldChg chg="addSp delSp modSp add">
        <pc:chgData name="Mark Grimes" userId="b58058b7-2ab8-4142-95e7-f7e306e81118" providerId="ADAL" clId="{24B37D59-6E88-484A-9D02-55E6AB2AE13A}" dt="2017-12-20T18:57:34.505" v="6308" actId="1440"/>
        <pc:sldMkLst>
          <pc:docMk/>
          <pc:sldMk cId="1701967207" sldId="403"/>
        </pc:sldMkLst>
        <pc:spChg chg="mod">
          <ac:chgData name="Mark Grimes" userId="b58058b7-2ab8-4142-95e7-f7e306e81118" providerId="ADAL" clId="{24B37D59-6E88-484A-9D02-55E6AB2AE13A}" dt="2017-12-20T18:28:01.653" v="5868" actId="20577"/>
          <ac:spMkLst>
            <pc:docMk/>
            <pc:sldMk cId="1701967207" sldId="403"/>
            <ac:spMk id="3" creationId="{00000000-0000-0000-0000-000000000000}"/>
          </ac:spMkLst>
        </pc:spChg>
        <pc:spChg chg="mod">
          <ac:chgData name="Mark Grimes" userId="b58058b7-2ab8-4142-95e7-f7e306e81118" providerId="ADAL" clId="{24B37D59-6E88-484A-9D02-55E6AB2AE13A}" dt="2017-12-20T18:41:11.365" v="6303" actId="5793"/>
          <ac:spMkLst>
            <pc:docMk/>
            <pc:sldMk cId="1701967207" sldId="403"/>
            <ac:spMk id="4" creationId="{00000000-0000-0000-0000-000000000000}"/>
          </ac:spMkLst>
        </pc:spChg>
        <pc:picChg chg="del">
          <ac:chgData name="Mark Grimes" userId="b58058b7-2ab8-4142-95e7-f7e306e81118" providerId="ADAL" clId="{24B37D59-6E88-484A-9D02-55E6AB2AE13A}" dt="2017-12-20T18:30:11.909" v="5925" actId="478"/>
          <ac:picMkLst>
            <pc:docMk/>
            <pc:sldMk cId="1701967207" sldId="403"/>
            <ac:picMk id="2" creationId="{40D2C95C-C26C-488C-82AE-F58F6072362E}"/>
          </ac:picMkLst>
        </pc:picChg>
        <pc:picChg chg="add del mod">
          <ac:chgData name="Mark Grimes" userId="b58058b7-2ab8-4142-95e7-f7e306e81118" providerId="ADAL" clId="{24B37D59-6E88-484A-9D02-55E6AB2AE13A}" dt="2017-12-20T18:40:01.429" v="6274" actId="478"/>
          <ac:picMkLst>
            <pc:docMk/>
            <pc:sldMk cId="1701967207" sldId="403"/>
            <ac:picMk id="5" creationId="{89E98BD0-EEA8-4595-8739-22F9E50936D7}"/>
          </ac:picMkLst>
        </pc:picChg>
        <pc:picChg chg="add mod">
          <ac:chgData name="Mark Grimes" userId="b58058b7-2ab8-4142-95e7-f7e306e81118" providerId="ADAL" clId="{24B37D59-6E88-484A-9D02-55E6AB2AE13A}" dt="2017-12-20T18:40:20.009" v="6280" actId="1440"/>
          <ac:picMkLst>
            <pc:docMk/>
            <pc:sldMk cId="1701967207" sldId="403"/>
            <ac:picMk id="6" creationId="{16C646EF-E47B-4F10-988D-6A16FF7C93C8}"/>
          </ac:picMkLst>
        </pc:picChg>
        <pc:picChg chg="add mod">
          <ac:chgData name="Mark Grimes" userId="b58058b7-2ab8-4142-95e7-f7e306e81118" providerId="ADAL" clId="{24B37D59-6E88-484A-9D02-55E6AB2AE13A}" dt="2017-12-20T18:57:34.505" v="6308" actId="1440"/>
          <ac:picMkLst>
            <pc:docMk/>
            <pc:sldMk cId="1701967207" sldId="403"/>
            <ac:picMk id="7" creationId="{23E23A72-D0BA-49DC-9085-8F4536C221FA}"/>
          </ac:picMkLst>
        </pc:picChg>
      </pc:sldChg>
      <pc:sldChg chg="modSp add">
        <pc:chgData name="Mark Grimes" userId="b58058b7-2ab8-4142-95e7-f7e306e81118" providerId="ADAL" clId="{24B37D59-6E88-484A-9D02-55E6AB2AE13A}" dt="2017-12-20T18:17:18.318" v="5691" actId="20577"/>
        <pc:sldMkLst>
          <pc:docMk/>
          <pc:sldMk cId="3891897535" sldId="404"/>
        </pc:sldMkLst>
        <pc:spChg chg="mod">
          <ac:chgData name="Mark Grimes" userId="b58058b7-2ab8-4142-95e7-f7e306e81118" providerId="ADAL" clId="{24B37D59-6E88-484A-9D02-55E6AB2AE13A}" dt="2017-12-20T18:17:18.318" v="5691" actId="20577"/>
          <ac:spMkLst>
            <pc:docMk/>
            <pc:sldMk cId="3891897535" sldId="404"/>
            <ac:spMk id="5" creationId="{00000000-0000-0000-0000-000000000000}"/>
          </ac:spMkLst>
        </pc:spChg>
      </pc:sldChg>
      <pc:sldChg chg="addSp delSp modSp add">
        <pc:chgData name="Mark Grimes" userId="b58058b7-2ab8-4142-95e7-f7e306e81118" providerId="ADAL" clId="{24B37D59-6E88-484A-9D02-55E6AB2AE13A}" dt="2017-12-20T18:25:08.681" v="5841" actId="1076"/>
        <pc:sldMkLst>
          <pc:docMk/>
          <pc:sldMk cId="2185642509" sldId="406"/>
        </pc:sldMkLst>
        <pc:spChg chg="mod">
          <ac:chgData name="Mark Grimes" userId="b58058b7-2ab8-4142-95e7-f7e306e81118" providerId="ADAL" clId="{24B37D59-6E88-484A-9D02-55E6AB2AE13A}" dt="2017-12-20T18:25:08.681" v="5841" actId="1076"/>
          <ac:spMkLst>
            <pc:docMk/>
            <pc:sldMk cId="2185642509" sldId="406"/>
            <ac:spMk id="2" creationId="{D30CD716-F27B-452B-9A72-D0B997513CAB}"/>
          </ac:spMkLst>
        </pc:spChg>
        <pc:spChg chg="mod">
          <ac:chgData name="Mark Grimes" userId="b58058b7-2ab8-4142-95e7-f7e306e81118" providerId="ADAL" clId="{24B37D59-6E88-484A-9D02-55E6AB2AE13A}" dt="2017-12-20T18:24:10.599" v="5835" actId="403"/>
          <ac:spMkLst>
            <pc:docMk/>
            <pc:sldMk cId="2185642509" sldId="406"/>
            <ac:spMk id="3" creationId="{8D5F0A98-146C-47D2-B8ED-845CFFA0C40E}"/>
          </ac:spMkLst>
        </pc:spChg>
        <pc:spChg chg="del">
          <ac:chgData name="Mark Grimes" userId="b58058b7-2ab8-4142-95e7-f7e306e81118" providerId="ADAL" clId="{24B37D59-6E88-484A-9D02-55E6AB2AE13A}" dt="2017-12-20T18:23:17.449" v="5822" actId="478"/>
          <ac:spMkLst>
            <pc:docMk/>
            <pc:sldMk cId="2185642509" sldId="406"/>
            <ac:spMk id="5" creationId="{AC6875B2-D8B2-4E0C-82E2-0B0DAC5835B7}"/>
          </ac:spMkLst>
        </pc:spChg>
        <pc:spChg chg="del">
          <ac:chgData name="Mark Grimes" userId="b58058b7-2ab8-4142-95e7-f7e306e81118" providerId="ADAL" clId="{24B37D59-6E88-484A-9D02-55E6AB2AE13A}" dt="2017-12-20T18:23:36.245" v="5825" actId="478"/>
          <ac:spMkLst>
            <pc:docMk/>
            <pc:sldMk cId="2185642509" sldId="406"/>
            <ac:spMk id="7" creationId="{E0933091-CED4-4C71-8FA8-48481A0BEB01}"/>
          </ac:spMkLst>
        </pc:spChg>
        <pc:spChg chg="add del mod">
          <ac:chgData name="Mark Grimes" userId="b58058b7-2ab8-4142-95e7-f7e306e81118" providerId="ADAL" clId="{24B37D59-6E88-484A-9D02-55E6AB2AE13A}" dt="2017-12-20T18:23:40.302" v="5826" actId="478"/>
          <ac:spMkLst>
            <pc:docMk/>
            <pc:sldMk cId="2185642509" sldId="406"/>
            <ac:spMk id="8" creationId="{7121ECB3-89C0-4539-B150-24D936D32D20}"/>
          </ac:spMkLst>
        </pc:spChg>
        <pc:spChg chg="add del">
          <ac:chgData name="Mark Grimes" userId="b58058b7-2ab8-4142-95e7-f7e306e81118" providerId="ADAL" clId="{24B37D59-6E88-484A-9D02-55E6AB2AE13A}" dt="2017-12-20T18:24:37.449" v="5837" actId="1076"/>
          <ac:spMkLst>
            <pc:docMk/>
            <pc:sldMk cId="2185642509" sldId="406"/>
            <ac:spMk id="9" creationId="{A38E3979-677E-468D-B5F3-574DC869FC9C}"/>
          </ac:spMkLst>
        </pc:spChg>
        <pc:spChg chg="add del">
          <ac:chgData name="Mark Grimes" userId="b58058b7-2ab8-4142-95e7-f7e306e81118" providerId="ADAL" clId="{24B37D59-6E88-484A-9D02-55E6AB2AE13A}" dt="2017-12-20T18:24:37.449" v="5837" actId="1076"/>
          <ac:spMkLst>
            <pc:docMk/>
            <pc:sldMk cId="2185642509" sldId="406"/>
            <ac:spMk id="10" creationId="{8BDDD1E1-5C5B-48DB-9FB7-635578B3823B}"/>
          </ac:spMkLst>
        </pc:spChg>
        <pc:spChg chg="add del">
          <ac:chgData name="Mark Grimes" userId="b58058b7-2ab8-4142-95e7-f7e306e81118" providerId="ADAL" clId="{24B37D59-6E88-484A-9D02-55E6AB2AE13A}" dt="2017-12-20T18:24:37.449" v="5837" actId="1076"/>
          <ac:spMkLst>
            <pc:docMk/>
            <pc:sldMk cId="2185642509" sldId="406"/>
            <ac:spMk id="11" creationId="{CA4E8C90-8487-4EEA-8F17-10FB596014BD}"/>
          </ac:spMkLst>
        </pc:spChg>
        <pc:spChg chg="add del">
          <ac:chgData name="Mark Grimes" userId="b58058b7-2ab8-4142-95e7-f7e306e81118" providerId="ADAL" clId="{24B37D59-6E88-484A-9D02-55E6AB2AE13A}" dt="2017-12-20T18:24:37.449" v="5837" actId="1076"/>
          <ac:spMkLst>
            <pc:docMk/>
            <pc:sldMk cId="2185642509" sldId="406"/>
            <ac:spMk id="12" creationId="{25D5A1E3-C4D5-4248-8655-867E9D616035}"/>
          </ac:spMkLst>
        </pc:spChg>
        <pc:spChg chg="add del">
          <ac:chgData name="Mark Grimes" userId="b58058b7-2ab8-4142-95e7-f7e306e81118" providerId="ADAL" clId="{24B37D59-6E88-484A-9D02-55E6AB2AE13A}" dt="2017-12-20T18:24:37.449" v="5837" actId="1076"/>
          <ac:spMkLst>
            <pc:docMk/>
            <pc:sldMk cId="2185642509" sldId="406"/>
            <ac:spMk id="13" creationId="{B34E3FAA-3D5C-4DCA-AD9C-0BEFB605C2F7}"/>
          </ac:spMkLst>
        </pc:spChg>
        <pc:spChg chg="add del">
          <ac:chgData name="Mark Grimes" userId="b58058b7-2ab8-4142-95e7-f7e306e81118" providerId="ADAL" clId="{24B37D59-6E88-484A-9D02-55E6AB2AE13A}" dt="2017-12-20T18:24:37.449" v="5837" actId="1076"/>
          <ac:spMkLst>
            <pc:docMk/>
            <pc:sldMk cId="2185642509" sldId="406"/>
            <ac:spMk id="14" creationId="{C7AC08B4-C24F-42BD-8681-ECFC6C68454F}"/>
          </ac:spMkLst>
        </pc:spChg>
        <pc:spChg chg="add del">
          <ac:chgData name="Mark Grimes" userId="b58058b7-2ab8-4142-95e7-f7e306e81118" providerId="ADAL" clId="{24B37D59-6E88-484A-9D02-55E6AB2AE13A}" dt="2017-12-20T18:24:37.449" v="5837" actId="1076"/>
          <ac:spMkLst>
            <pc:docMk/>
            <pc:sldMk cId="2185642509" sldId="406"/>
            <ac:spMk id="15" creationId="{F3647E8E-CDF1-43A9-BFF9-B5FDC8470B85}"/>
          </ac:spMkLst>
        </pc:spChg>
        <pc:spChg chg="add del">
          <ac:chgData name="Mark Grimes" userId="b58058b7-2ab8-4142-95e7-f7e306e81118" providerId="ADAL" clId="{24B37D59-6E88-484A-9D02-55E6AB2AE13A}" dt="2017-12-20T18:24:37.449" v="5837" actId="1076"/>
          <ac:spMkLst>
            <pc:docMk/>
            <pc:sldMk cId="2185642509" sldId="406"/>
            <ac:spMk id="16" creationId="{11CE78D4-70D2-4FAF-AF41-343633324D5A}"/>
          </ac:spMkLst>
        </pc:spChg>
        <pc:spChg chg="add del">
          <ac:chgData name="Mark Grimes" userId="b58058b7-2ab8-4142-95e7-f7e306e81118" providerId="ADAL" clId="{24B37D59-6E88-484A-9D02-55E6AB2AE13A}" dt="2017-12-20T18:24:37.449" v="5837" actId="1076"/>
          <ac:spMkLst>
            <pc:docMk/>
            <pc:sldMk cId="2185642509" sldId="406"/>
            <ac:spMk id="17" creationId="{A768A7CA-36DF-4AC3-AF92-B772C73C73E2}"/>
          </ac:spMkLst>
        </pc:spChg>
        <pc:spChg chg="add del">
          <ac:chgData name="Mark Grimes" userId="b58058b7-2ab8-4142-95e7-f7e306e81118" providerId="ADAL" clId="{24B37D59-6E88-484A-9D02-55E6AB2AE13A}" dt="2017-12-20T18:24:37.449" v="5837" actId="1076"/>
          <ac:spMkLst>
            <pc:docMk/>
            <pc:sldMk cId="2185642509" sldId="406"/>
            <ac:spMk id="23" creationId="{A71D658E-B698-41B0-BC7B-B7DCB431A1D7}"/>
          </ac:spMkLst>
        </pc:spChg>
        <pc:spChg chg="add del">
          <ac:chgData name="Mark Grimes" userId="b58058b7-2ab8-4142-95e7-f7e306e81118" providerId="ADAL" clId="{24B37D59-6E88-484A-9D02-55E6AB2AE13A}" dt="2017-12-20T18:24:37.449" v="5837" actId="1076"/>
          <ac:spMkLst>
            <pc:docMk/>
            <pc:sldMk cId="2185642509" sldId="406"/>
            <ac:spMk id="24" creationId="{E019DB8A-8FD2-437C-A27D-795FE88D1BB1}"/>
          </ac:spMkLst>
        </pc:spChg>
        <pc:spChg chg="add del">
          <ac:chgData name="Mark Grimes" userId="b58058b7-2ab8-4142-95e7-f7e306e81118" providerId="ADAL" clId="{24B37D59-6E88-484A-9D02-55E6AB2AE13A}" dt="2017-12-20T18:24:37.449" v="5837" actId="1076"/>
          <ac:spMkLst>
            <pc:docMk/>
            <pc:sldMk cId="2185642509" sldId="406"/>
            <ac:spMk id="33" creationId="{0925B9FE-6D95-42A5-9732-197B4D8AFA71}"/>
          </ac:spMkLst>
        </pc:spChg>
        <pc:spChg chg="add del">
          <ac:chgData name="Mark Grimes" userId="b58058b7-2ab8-4142-95e7-f7e306e81118" providerId="ADAL" clId="{24B37D59-6E88-484A-9D02-55E6AB2AE13A}" dt="2017-12-20T18:24:37.449" v="5837" actId="1076"/>
          <ac:spMkLst>
            <pc:docMk/>
            <pc:sldMk cId="2185642509" sldId="406"/>
            <ac:spMk id="39" creationId="{7B10EDE6-A0A8-402C-AED4-1CC3F73F6D21}"/>
          </ac:spMkLst>
        </pc:spChg>
        <pc:spChg chg="add del">
          <ac:chgData name="Mark Grimes" userId="b58058b7-2ab8-4142-95e7-f7e306e81118" providerId="ADAL" clId="{24B37D59-6E88-484A-9D02-55E6AB2AE13A}" dt="2017-12-20T18:24:37.449" v="5837" actId="1076"/>
          <ac:spMkLst>
            <pc:docMk/>
            <pc:sldMk cId="2185642509" sldId="406"/>
            <ac:spMk id="40" creationId="{9F248016-6989-4777-954F-3217039F75D2}"/>
          </ac:spMkLst>
        </pc:spChg>
        <pc:spChg chg="add del">
          <ac:chgData name="Mark Grimes" userId="b58058b7-2ab8-4142-95e7-f7e306e81118" providerId="ADAL" clId="{24B37D59-6E88-484A-9D02-55E6AB2AE13A}" dt="2017-12-20T18:24:37.449" v="5837" actId="1076"/>
          <ac:spMkLst>
            <pc:docMk/>
            <pc:sldMk cId="2185642509" sldId="406"/>
            <ac:spMk id="41" creationId="{1E7F998D-5A4F-4539-A72F-C60178E158EE}"/>
          </ac:spMkLst>
        </pc:spChg>
        <pc:spChg chg="add del">
          <ac:chgData name="Mark Grimes" userId="b58058b7-2ab8-4142-95e7-f7e306e81118" providerId="ADAL" clId="{24B37D59-6E88-484A-9D02-55E6AB2AE13A}" dt="2017-12-20T18:24:37.449" v="5837" actId="1076"/>
          <ac:spMkLst>
            <pc:docMk/>
            <pc:sldMk cId="2185642509" sldId="406"/>
            <ac:spMk id="42" creationId="{B002F70A-6D55-4963-B612-BA2EE5BF94B9}"/>
          </ac:spMkLst>
        </pc:spChg>
        <pc:spChg chg="add del">
          <ac:chgData name="Mark Grimes" userId="b58058b7-2ab8-4142-95e7-f7e306e81118" providerId="ADAL" clId="{24B37D59-6E88-484A-9D02-55E6AB2AE13A}" dt="2017-12-20T18:24:37.449" v="5837" actId="1076"/>
          <ac:spMkLst>
            <pc:docMk/>
            <pc:sldMk cId="2185642509" sldId="406"/>
            <ac:spMk id="43" creationId="{3CDE5C8B-497A-485E-8C16-F7DC99E69DE0}"/>
          </ac:spMkLst>
        </pc:spChg>
        <pc:spChg chg="add del">
          <ac:chgData name="Mark Grimes" userId="b58058b7-2ab8-4142-95e7-f7e306e81118" providerId="ADAL" clId="{24B37D59-6E88-484A-9D02-55E6AB2AE13A}" dt="2017-12-20T18:24:37.449" v="5837" actId="1076"/>
          <ac:spMkLst>
            <pc:docMk/>
            <pc:sldMk cId="2185642509" sldId="406"/>
            <ac:spMk id="44" creationId="{2F39E0B9-E769-4764-8922-49042401BF47}"/>
          </ac:spMkLst>
        </pc:spChg>
        <pc:spChg chg="add del">
          <ac:chgData name="Mark Grimes" userId="b58058b7-2ab8-4142-95e7-f7e306e81118" providerId="ADAL" clId="{24B37D59-6E88-484A-9D02-55E6AB2AE13A}" dt="2017-12-20T18:24:37.449" v="5837" actId="1076"/>
          <ac:spMkLst>
            <pc:docMk/>
            <pc:sldMk cId="2185642509" sldId="406"/>
            <ac:spMk id="45" creationId="{A3EF99FB-CC59-4B89-8F92-8C70D23DC547}"/>
          </ac:spMkLst>
        </pc:spChg>
        <pc:spChg chg="add">
          <ac:chgData name="Mark Grimes" userId="b58058b7-2ab8-4142-95e7-f7e306e81118" providerId="ADAL" clId="{24B37D59-6E88-484A-9D02-55E6AB2AE13A}" dt="2017-12-20T18:24:43.936" v="5838" actId="1076"/>
          <ac:spMkLst>
            <pc:docMk/>
            <pc:sldMk cId="2185642509" sldId="406"/>
            <ac:spMk id="46" creationId="{4182A076-7B83-4651-A1D8-89671860C587}"/>
          </ac:spMkLst>
        </pc:spChg>
        <pc:spChg chg="add">
          <ac:chgData name="Mark Grimes" userId="b58058b7-2ab8-4142-95e7-f7e306e81118" providerId="ADAL" clId="{24B37D59-6E88-484A-9D02-55E6AB2AE13A}" dt="2017-12-20T18:24:43.936" v="5838" actId="1076"/>
          <ac:spMkLst>
            <pc:docMk/>
            <pc:sldMk cId="2185642509" sldId="406"/>
            <ac:spMk id="47" creationId="{FE7E78B9-E572-47F5-A0CF-56804056E7E8}"/>
          </ac:spMkLst>
        </pc:spChg>
        <pc:spChg chg="add">
          <ac:chgData name="Mark Grimes" userId="b58058b7-2ab8-4142-95e7-f7e306e81118" providerId="ADAL" clId="{24B37D59-6E88-484A-9D02-55E6AB2AE13A}" dt="2017-12-20T18:24:43.936" v="5838" actId="1076"/>
          <ac:spMkLst>
            <pc:docMk/>
            <pc:sldMk cId="2185642509" sldId="406"/>
            <ac:spMk id="48" creationId="{03BDDEAA-07A6-4397-953B-31DD0D046F3A}"/>
          </ac:spMkLst>
        </pc:spChg>
        <pc:spChg chg="add">
          <ac:chgData name="Mark Grimes" userId="b58058b7-2ab8-4142-95e7-f7e306e81118" providerId="ADAL" clId="{24B37D59-6E88-484A-9D02-55E6AB2AE13A}" dt="2017-12-20T18:24:43.936" v="5838" actId="1076"/>
          <ac:spMkLst>
            <pc:docMk/>
            <pc:sldMk cId="2185642509" sldId="406"/>
            <ac:spMk id="49" creationId="{F7E47F5D-63B1-42CB-8CCD-87E43C3E8A11}"/>
          </ac:spMkLst>
        </pc:spChg>
        <pc:spChg chg="add">
          <ac:chgData name="Mark Grimes" userId="b58058b7-2ab8-4142-95e7-f7e306e81118" providerId="ADAL" clId="{24B37D59-6E88-484A-9D02-55E6AB2AE13A}" dt="2017-12-20T18:24:43.936" v="5838" actId="1076"/>
          <ac:spMkLst>
            <pc:docMk/>
            <pc:sldMk cId="2185642509" sldId="406"/>
            <ac:spMk id="50" creationId="{F43A51EF-BB1F-437E-9F05-DF047643AA9A}"/>
          </ac:spMkLst>
        </pc:spChg>
        <pc:spChg chg="add">
          <ac:chgData name="Mark Grimes" userId="b58058b7-2ab8-4142-95e7-f7e306e81118" providerId="ADAL" clId="{24B37D59-6E88-484A-9D02-55E6AB2AE13A}" dt="2017-12-20T18:24:43.936" v="5838" actId="1076"/>
          <ac:spMkLst>
            <pc:docMk/>
            <pc:sldMk cId="2185642509" sldId="406"/>
            <ac:spMk id="51" creationId="{89A6C38C-B27F-4F00-88A7-9C27EEBA9143}"/>
          </ac:spMkLst>
        </pc:spChg>
        <pc:spChg chg="add">
          <ac:chgData name="Mark Grimes" userId="b58058b7-2ab8-4142-95e7-f7e306e81118" providerId="ADAL" clId="{24B37D59-6E88-484A-9D02-55E6AB2AE13A}" dt="2017-12-20T18:24:43.936" v="5838" actId="1076"/>
          <ac:spMkLst>
            <pc:docMk/>
            <pc:sldMk cId="2185642509" sldId="406"/>
            <ac:spMk id="52" creationId="{D0C27634-14BE-4FBE-A623-19438FF28575}"/>
          </ac:spMkLst>
        </pc:spChg>
        <pc:spChg chg="add">
          <ac:chgData name="Mark Grimes" userId="b58058b7-2ab8-4142-95e7-f7e306e81118" providerId="ADAL" clId="{24B37D59-6E88-484A-9D02-55E6AB2AE13A}" dt="2017-12-20T18:24:43.936" v="5838" actId="1076"/>
          <ac:spMkLst>
            <pc:docMk/>
            <pc:sldMk cId="2185642509" sldId="406"/>
            <ac:spMk id="53" creationId="{A53151D9-7DD0-4B22-8E11-4E22B87FFD8C}"/>
          </ac:spMkLst>
        </pc:spChg>
        <pc:spChg chg="add">
          <ac:chgData name="Mark Grimes" userId="b58058b7-2ab8-4142-95e7-f7e306e81118" providerId="ADAL" clId="{24B37D59-6E88-484A-9D02-55E6AB2AE13A}" dt="2017-12-20T18:24:43.936" v="5838" actId="1076"/>
          <ac:spMkLst>
            <pc:docMk/>
            <pc:sldMk cId="2185642509" sldId="406"/>
            <ac:spMk id="54" creationId="{5EE4AD28-16E4-4594-9813-0510A151CDBC}"/>
          </ac:spMkLst>
        </pc:spChg>
        <pc:spChg chg="add">
          <ac:chgData name="Mark Grimes" userId="b58058b7-2ab8-4142-95e7-f7e306e81118" providerId="ADAL" clId="{24B37D59-6E88-484A-9D02-55E6AB2AE13A}" dt="2017-12-20T18:24:43.936" v="5838" actId="1076"/>
          <ac:spMkLst>
            <pc:docMk/>
            <pc:sldMk cId="2185642509" sldId="406"/>
            <ac:spMk id="60" creationId="{5E658BC5-50FF-4AB1-9172-37F90B2A3426}"/>
          </ac:spMkLst>
        </pc:spChg>
        <pc:spChg chg="add">
          <ac:chgData name="Mark Grimes" userId="b58058b7-2ab8-4142-95e7-f7e306e81118" providerId="ADAL" clId="{24B37D59-6E88-484A-9D02-55E6AB2AE13A}" dt="2017-12-20T18:24:43.936" v="5838" actId="1076"/>
          <ac:spMkLst>
            <pc:docMk/>
            <pc:sldMk cId="2185642509" sldId="406"/>
            <ac:spMk id="61" creationId="{709F9018-2454-4265-BDF7-D5B5519FF993}"/>
          </ac:spMkLst>
        </pc:spChg>
        <pc:spChg chg="add">
          <ac:chgData name="Mark Grimes" userId="b58058b7-2ab8-4142-95e7-f7e306e81118" providerId="ADAL" clId="{24B37D59-6E88-484A-9D02-55E6AB2AE13A}" dt="2017-12-20T18:24:43.936" v="5838" actId="1076"/>
          <ac:spMkLst>
            <pc:docMk/>
            <pc:sldMk cId="2185642509" sldId="406"/>
            <ac:spMk id="70" creationId="{047F4CF7-742D-446A-882E-8690841A5FD4}"/>
          </ac:spMkLst>
        </pc:spChg>
        <pc:spChg chg="add">
          <ac:chgData name="Mark Grimes" userId="b58058b7-2ab8-4142-95e7-f7e306e81118" providerId="ADAL" clId="{24B37D59-6E88-484A-9D02-55E6AB2AE13A}" dt="2017-12-20T18:24:43.936" v="5838" actId="1076"/>
          <ac:spMkLst>
            <pc:docMk/>
            <pc:sldMk cId="2185642509" sldId="406"/>
            <ac:spMk id="76" creationId="{5236380F-4F16-4875-AEC0-9D13C2020912}"/>
          </ac:spMkLst>
        </pc:spChg>
        <pc:spChg chg="add">
          <ac:chgData name="Mark Grimes" userId="b58058b7-2ab8-4142-95e7-f7e306e81118" providerId="ADAL" clId="{24B37D59-6E88-484A-9D02-55E6AB2AE13A}" dt="2017-12-20T18:24:43.936" v="5838" actId="1076"/>
          <ac:spMkLst>
            <pc:docMk/>
            <pc:sldMk cId="2185642509" sldId="406"/>
            <ac:spMk id="77" creationId="{20352198-D83E-4865-90F2-0728705997A4}"/>
          </ac:spMkLst>
        </pc:spChg>
        <pc:spChg chg="add">
          <ac:chgData name="Mark Grimes" userId="b58058b7-2ab8-4142-95e7-f7e306e81118" providerId="ADAL" clId="{24B37D59-6E88-484A-9D02-55E6AB2AE13A}" dt="2017-12-20T18:24:43.936" v="5838" actId="1076"/>
          <ac:spMkLst>
            <pc:docMk/>
            <pc:sldMk cId="2185642509" sldId="406"/>
            <ac:spMk id="78" creationId="{F0AD4285-F8F1-4386-9A8D-49024262E2DB}"/>
          </ac:spMkLst>
        </pc:spChg>
        <pc:spChg chg="add">
          <ac:chgData name="Mark Grimes" userId="b58058b7-2ab8-4142-95e7-f7e306e81118" providerId="ADAL" clId="{24B37D59-6E88-484A-9D02-55E6AB2AE13A}" dt="2017-12-20T18:24:43.936" v="5838" actId="1076"/>
          <ac:spMkLst>
            <pc:docMk/>
            <pc:sldMk cId="2185642509" sldId="406"/>
            <ac:spMk id="79" creationId="{7C19A5CC-C21D-4C4F-9396-F3567359178C}"/>
          </ac:spMkLst>
        </pc:spChg>
        <pc:spChg chg="add">
          <ac:chgData name="Mark Grimes" userId="b58058b7-2ab8-4142-95e7-f7e306e81118" providerId="ADAL" clId="{24B37D59-6E88-484A-9D02-55E6AB2AE13A}" dt="2017-12-20T18:24:43.936" v="5838" actId="1076"/>
          <ac:spMkLst>
            <pc:docMk/>
            <pc:sldMk cId="2185642509" sldId="406"/>
            <ac:spMk id="80" creationId="{55CBE8E2-A124-4635-9162-7A5CFC65A89D}"/>
          </ac:spMkLst>
        </pc:spChg>
        <pc:spChg chg="add">
          <ac:chgData name="Mark Grimes" userId="b58058b7-2ab8-4142-95e7-f7e306e81118" providerId="ADAL" clId="{24B37D59-6E88-484A-9D02-55E6AB2AE13A}" dt="2017-12-20T18:24:43.936" v="5838" actId="1076"/>
          <ac:spMkLst>
            <pc:docMk/>
            <pc:sldMk cId="2185642509" sldId="406"/>
            <ac:spMk id="81" creationId="{8E1CD9C3-7F40-44EF-960D-7AEF106EB548}"/>
          </ac:spMkLst>
        </pc:spChg>
        <pc:spChg chg="add">
          <ac:chgData name="Mark Grimes" userId="b58058b7-2ab8-4142-95e7-f7e306e81118" providerId="ADAL" clId="{24B37D59-6E88-484A-9D02-55E6AB2AE13A}" dt="2017-12-20T18:24:43.936" v="5838" actId="1076"/>
          <ac:spMkLst>
            <pc:docMk/>
            <pc:sldMk cId="2185642509" sldId="406"/>
            <ac:spMk id="82" creationId="{2435E283-B044-4D7E-B99C-D7154085A449}"/>
          </ac:spMkLst>
        </pc:spChg>
        <pc:grpChg chg="add del">
          <ac:chgData name="Mark Grimes" userId="b58058b7-2ab8-4142-95e7-f7e306e81118" providerId="ADAL" clId="{24B37D59-6E88-484A-9D02-55E6AB2AE13A}" dt="2017-12-20T18:24:37.449" v="5837" actId="1076"/>
          <ac:grpSpMkLst>
            <pc:docMk/>
            <pc:sldMk cId="2185642509" sldId="406"/>
            <ac:grpSpMk id="19" creationId="{48ECC01E-86C6-422E-BE58-57323CD530F2}"/>
          </ac:grpSpMkLst>
        </pc:grpChg>
        <pc:grpChg chg="add del">
          <ac:chgData name="Mark Grimes" userId="b58058b7-2ab8-4142-95e7-f7e306e81118" providerId="ADAL" clId="{24B37D59-6E88-484A-9D02-55E6AB2AE13A}" dt="2017-12-20T18:24:37.449" v="5837" actId="1076"/>
          <ac:grpSpMkLst>
            <pc:docMk/>
            <pc:sldMk cId="2185642509" sldId="406"/>
            <ac:grpSpMk id="25" creationId="{6B6185D0-E48E-4766-8AD9-23CC492F6E82}"/>
          </ac:grpSpMkLst>
        </pc:grpChg>
        <pc:grpChg chg="add del">
          <ac:chgData name="Mark Grimes" userId="b58058b7-2ab8-4142-95e7-f7e306e81118" providerId="ADAL" clId="{24B37D59-6E88-484A-9D02-55E6AB2AE13A}" dt="2017-12-20T18:24:37.449" v="5837" actId="1076"/>
          <ac:grpSpMkLst>
            <pc:docMk/>
            <pc:sldMk cId="2185642509" sldId="406"/>
            <ac:grpSpMk id="28" creationId="{8132FFE6-182B-48B6-99DA-46F7FE1D3101}"/>
          </ac:grpSpMkLst>
        </pc:grpChg>
        <pc:grpChg chg="add del">
          <ac:chgData name="Mark Grimes" userId="b58058b7-2ab8-4142-95e7-f7e306e81118" providerId="ADAL" clId="{24B37D59-6E88-484A-9D02-55E6AB2AE13A}" dt="2017-12-20T18:24:37.449" v="5837" actId="1076"/>
          <ac:grpSpMkLst>
            <pc:docMk/>
            <pc:sldMk cId="2185642509" sldId="406"/>
            <ac:grpSpMk id="35" creationId="{433AED6D-BC0A-4924-87E1-0BADFE2CFFF6}"/>
          </ac:grpSpMkLst>
        </pc:grpChg>
        <pc:grpChg chg="add">
          <ac:chgData name="Mark Grimes" userId="b58058b7-2ab8-4142-95e7-f7e306e81118" providerId="ADAL" clId="{24B37D59-6E88-484A-9D02-55E6AB2AE13A}" dt="2017-12-20T18:24:43.936" v="5838" actId="1076"/>
          <ac:grpSpMkLst>
            <pc:docMk/>
            <pc:sldMk cId="2185642509" sldId="406"/>
            <ac:grpSpMk id="56" creationId="{380AA1F4-C9D2-4434-8E47-550B2F8B3AAD}"/>
          </ac:grpSpMkLst>
        </pc:grpChg>
        <pc:grpChg chg="add">
          <ac:chgData name="Mark Grimes" userId="b58058b7-2ab8-4142-95e7-f7e306e81118" providerId="ADAL" clId="{24B37D59-6E88-484A-9D02-55E6AB2AE13A}" dt="2017-12-20T18:24:43.936" v="5838" actId="1076"/>
          <ac:grpSpMkLst>
            <pc:docMk/>
            <pc:sldMk cId="2185642509" sldId="406"/>
            <ac:grpSpMk id="62" creationId="{BDBE8E62-3E7C-46CB-8ED3-83BDF9948D23}"/>
          </ac:grpSpMkLst>
        </pc:grpChg>
        <pc:grpChg chg="add">
          <ac:chgData name="Mark Grimes" userId="b58058b7-2ab8-4142-95e7-f7e306e81118" providerId="ADAL" clId="{24B37D59-6E88-484A-9D02-55E6AB2AE13A}" dt="2017-12-20T18:24:43.936" v="5838" actId="1076"/>
          <ac:grpSpMkLst>
            <pc:docMk/>
            <pc:sldMk cId="2185642509" sldId="406"/>
            <ac:grpSpMk id="65" creationId="{262F3E9C-25E9-4EAC-860D-5F3C80E07164}"/>
          </ac:grpSpMkLst>
        </pc:grpChg>
        <pc:grpChg chg="add">
          <ac:chgData name="Mark Grimes" userId="b58058b7-2ab8-4142-95e7-f7e306e81118" providerId="ADAL" clId="{24B37D59-6E88-484A-9D02-55E6AB2AE13A}" dt="2017-12-20T18:24:43.936" v="5838" actId="1076"/>
          <ac:grpSpMkLst>
            <pc:docMk/>
            <pc:sldMk cId="2185642509" sldId="406"/>
            <ac:grpSpMk id="72" creationId="{ADAF3FE9-A642-4832-B5E4-9559D4C65D29}"/>
          </ac:grpSpMkLst>
        </pc:grpChg>
        <pc:picChg chg="del">
          <ac:chgData name="Mark Grimes" userId="b58058b7-2ab8-4142-95e7-f7e306e81118" providerId="ADAL" clId="{24B37D59-6E88-484A-9D02-55E6AB2AE13A}" dt="2017-12-20T18:23:19.715" v="5823" actId="478"/>
          <ac:picMkLst>
            <pc:docMk/>
            <pc:sldMk cId="2185642509" sldId="406"/>
            <ac:picMk id="6" creationId="{E99D24FC-F858-4140-BC2A-ACAC3DC773E2}"/>
          </ac:picMkLst>
        </pc:picChg>
        <pc:cxnChg chg="add del">
          <ac:chgData name="Mark Grimes" userId="b58058b7-2ab8-4142-95e7-f7e306e81118" providerId="ADAL" clId="{24B37D59-6E88-484A-9D02-55E6AB2AE13A}" dt="2017-12-20T18:24:37.449" v="5837" actId="1076"/>
          <ac:cxnSpMkLst>
            <pc:docMk/>
            <pc:sldMk cId="2185642509" sldId="406"/>
            <ac:cxnSpMk id="18" creationId="{E064E867-F5C1-4323-8D34-8AFA5F070F94}"/>
          </ac:cxnSpMkLst>
        </pc:cxnChg>
        <pc:cxnChg chg="add del">
          <ac:chgData name="Mark Grimes" userId="b58058b7-2ab8-4142-95e7-f7e306e81118" providerId="ADAL" clId="{24B37D59-6E88-484A-9D02-55E6AB2AE13A}" dt="2017-12-20T18:24:37.449" v="5837" actId="1076"/>
          <ac:cxnSpMkLst>
            <pc:docMk/>
            <pc:sldMk cId="2185642509" sldId="406"/>
            <ac:cxnSpMk id="34" creationId="{AB426FE2-40C1-4272-B773-9013D6416C61}"/>
          </ac:cxnSpMkLst>
        </pc:cxnChg>
        <pc:cxnChg chg="add">
          <ac:chgData name="Mark Grimes" userId="b58058b7-2ab8-4142-95e7-f7e306e81118" providerId="ADAL" clId="{24B37D59-6E88-484A-9D02-55E6AB2AE13A}" dt="2017-12-20T18:24:43.936" v="5838" actId="1076"/>
          <ac:cxnSpMkLst>
            <pc:docMk/>
            <pc:sldMk cId="2185642509" sldId="406"/>
            <ac:cxnSpMk id="55" creationId="{232F52D7-389C-4C15-A5D7-B29242D7B238}"/>
          </ac:cxnSpMkLst>
        </pc:cxnChg>
        <pc:cxnChg chg="add">
          <ac:chgData name="Mark Grimes" userId="b58058b7-2ab8-4142-95e7-f7e306e81118" providerId="ADAL" clId="{24B37D59-6E88-484A-9D02-55E6AB2AE13A}" dt="2017-12-20T18:24:43.936" v="5838" actId="1076"/>
          <ac:cxnSpMkLst>
            <pc:docMk/>
            <pc:sldMk cId="2185642509" sldId="406"/>
            <ac:cxnSpMk id="71" creationId="{173775FE-E56A-4417-B52E-953F42316593}"/>
          </ac:cxnSpMkLst>
        </pc:cxnChg>
      </pc:sldChg>
      <pc:sldChg chg="modSp add del">
        <pc:chgData name="Mark Grimes" userId="b58058b7-2ab8-4142-95e7-f7e306e81118" providerId="ADAL" clId="{24B37D59-6E88-484A-9D02-55E6AB2AE13A}" dt="2017-12-20T19:24:56.235" v="6354" actId="20577"/>
        <pc:sldMkLst>
          <pc:docMk/>
          <pc:sldMk cId="2168367688" sldId="407"/>
        </pc:sldMkLst>
        <pc:spChg chg="mod">
          <ac:chgData name="Mark Grimes" userId="b58058b7-2ab8-4142-95e7-f7e306e81118" providerId="ADAL" clId="{24B37D59-6E88-484A-9D02-55E6AB2AE13A}" dt="2017-12-20T19:24:56.235" v="6354" actId="20577"/>
          <ac:spMkLst>
            <pc:docMk/>
            <pc:sldMk cId="2168367688" sldId="407"/>
            <ac:spMk id="85" creationId="{03666BFB-DBC7-4508-A252-37E57FDDD69D}"/>
          </ac:spMkLst>
        </pc:spChg>
      </pc:sldChg>
      <pc:sldChg chg="addSp delSp add">
        <pc:chgData name="Mark Grimes" userId="b58058b7-2ab8-4142-95e7-f7e306e81118" providerId="ADAL" clId="{24B37D59-6E88-484A-9D02-55E6AB2AE13A}" dt="2017-12-20T19:26:32.456" v="6371" actId="20577"/>
        <pc:sldMkLst>
          <pc:docMk/>
          <pc:sldMk cId="4155015654" sldId="409"/>
        </pc:sldMkLst>
        <pc:spChg chg="del">
          <ac:chgData name="Mark Grimes" userId="b58058b7-2ab8-4142-95e7-f7e306e81118" providerId="ADAL" clId="{24B37D59-6E88-484A-9D02-55E6AB2AE13A}" dt="2017-12-20T19:26:31.740" v="6370" actId="478"/>
          <ac:spMkLst>
            <pc:docMk/>
            <pc:sldMk cId="4155015654" sldId="409"/>
            <ac:spMk id="25"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26"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39"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44" creationId="{00000000-0000-0000-0000-000000000000}"/>
          </ac:spMkLst>
        </pc:spChg>
        <pc:spChg chg="add">
          <ac:chgData name="Mark Grimes" userId="b58058b7-2ab8-4142-95e7-f7e306e81118" providerId="ADAL" clId="{24B37D59-6E88-484A-9D02-55E6AB2AE13A}" dt="2017-12-20T19:26:32.456" v="6371" actId="20577"/>
          <ac:spMkLst>
            <pc:docMk/>
            <pc:sldMk cId="4155015654" sldId="409"/>
            <ac:spMk id="65" creationId="{6C5BC350-22D3-4DDA-8502-84E0381C6097}"/>
          </ac:spMkLst>
        </pc:spChg>
        <pc:spChg chg="del">
          <ac:chgData name="Mark Grimes" userId="b58058b7-2ab8-4142-95e7-f7e306e81118" providerId="ADAL" clId="{24B37D59-6E88-484A-9D02-55E6AB2AE13A}" dt="2017-12-20T19:26:31.740" v="6370" actId="478"/>
          <ac:spMkLst>
            <pc:docMk/>
            <pc:sldMk cId="4155015654" sldId="409"/>
            <ac:spMk id="75" creationId="{00000000-0000-0000-0000-000000000000}"/>
          </ac:spMkLst>
        </pc:spChg>
        <pc:spChg chg="add">
          <ac:chgData name="Mark Grimes" userId="b58058b7-2ab8-4142-95e7-f7e306e81118" providerId="ADAL" clId="{24B37D59-6E88-484A-9D02-55E6AB2AE13A}" dt="2017-12-20T19:26:32.456" v="6371" actId="20577"/>
          <ac:spMkLst>
            <pc:docMk/>
            <pc:sldMk cId="4155015654" sldId="409"/>
            <ac:spMk id="76" creationId="{5536D59D-3D0F-4686-9B50-EE76047E95CF}"/>
          </ac:spMkLst>
        </pc:spChg>
        <pc:spChg chg="add">
          <ac:chgData name="Mark Grimes" userId="b58058b7-2ab8-4142-95e7-f7e306e81118" providerId="ADAL" clId="{24B37D59-6E88-484A-9D02-55E6AB2AE13A}" dt="2017-12-20T19:26:32.456" v="6371" actId="20577"/>
          <ac:spMkLst>
            <pc:docMk/>
            <pc:sldMk cId="4155015654" sldId="409"/>
            <ac:spMk id="77" creationId="{C6E659CC-1FC3-4D8D-9EF6-D065A21242E4}"/>
          </ac:spMkLst>
        </pc:spChg>
        <pc:spChg chg="add">
          <ac:chgData name="Mark Grimes" userId="b58058b7-2ab8-4142-95e7-f7e306e81118" providerId="ADAL" clId="{24B37D59-6E88-484A-9D02-55E6AB2AE13A}" dt="2017-12-20T19:26:32.456" v="6371" actId="20577"/>
          <ac:spMkLst>
            <pc:docMk/>
            <pc:sldMk cId="4155015654" sldId="409"/>
            <ac:spMk id="78" creationId="{0900C5A9-5DF1-4459-96E5-B38E0673F289}"/>
          </ac:spMkLst>
        </pc:spChg>
        <pc:spChg chg="del">
          <ac:chgData name="Mark Grimes" userId="b58058b7-2ab8-4142-95e7-f7e306e81118" providerId="ADAL" clId="{24B37D59-6E88-484A-9D02-55E6AB2AE13A}" dt="2017-12-20T19:26:31.740" v="6370" actId="478"/>
          <ac:spMkLst>
            <pc:docMk/>
            <pc:sldMk cId="4155015654" sldId="409"/>
            <ac:spMk id="79" creationId="{00000000-0000-0000-0000-000000000000}"/>
          </ac:spMkLst>
        </pc:spChg>
        <pc:spChg chg="add">
          <ac:chgData name="Mark Grimes" userId="b58058b7-2ab8-4142-95e7-f7e306e81118" providerId="ADAL" clId="{24B37D59-6E88-484A-9D02-55E6AB2AE13A}" dt="2017-12-20T19:26:32.456" v="6371" actId="20577"/>
          <ac:spMkLst>
            <pc:docMk/>
            <pc:sldMk cId="4155015654" sldId="409"/>
            <ac:spMk id="80" creationId="{A61F8685-AE2F-4953-9F6C-3BC1820424A7}"/>
          </ac:spMkLst>
        </pc:spChg>
        <pc:spChg chg="del">
          <ac:chgData name="Mark Grimes" userId="b58058b7-2ab8-4142-95e7-f7e306e81118" providerId="ADAL" clId="{24B37D59-6E88-484A-9D02-55E6AB2AE13A}" dt="2017-12-20T19:26:31.740" v="6370" actId="478"/>
          <ac:spMkLst>
            <pc:docMk/>
            <pc:sldMk cId="4155015654" sldId="409"/>
            <ac:spMk id="83"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84" creationId="{78A33955-94D0-4990-98F6-E5EE01314813}"/>
          </ac:spMkLst>
        </pc:spChg>
        <pc:spChg chg="del">
          <ac:chgData name="Mark Grimes" userId="b58058b7-2ab8-4142-95e7-f7e306e81118" providerId="ADAL" clId="{24B37D59-6E88-484A-9D02-55E6AB2AE13A}" dt="2017-12-20T19:26:31.740" v="6370" actId="478"/>
          <ac:spMkLst>
            <pc:docMk/>
            <pc:sldMk cId="4155015654" sldId="409"/>
            <ac:spMk id="85" creationId="{03666BFB-DBC7-4508-A252-37E57FDDD69D}"/>
          </ac:spMkLst>
        </pc:spChg>
        <pc:spChg chg="del">
          <ac:chgData name="Mark Grimes" userId="b58058b7-2ab8-4142-95e7-f7e306e81118" providerId="ADAL" clId="{24B37D59-6E88-484A-9D02-55E6AB2AE13A}" dt="2017-12-20T19:26:31.740" v="6370" actId="478"/>
          <ac:spMkLst>
            <pc:docMk/>
            <pc:sldMk cId="4155015654" sldId="409"/>
            <ac:spMk id="87" creationId="{E3177F3E-0431-47F1-B374-730E719E8C61}"/>
          </ac:spMkLst>
        </pc:spChg>
        <pc:spChg chg="add">
          <ac:chgData name="Mark Grimes" userId="b58058b7-2ab8-4142-95e7-f7e306e81118" providerId="ADAL" clId="{24B37D59-6E88-484A-9D02-55E6AB2AE13A}" dt="2017-12-20T19:26:32.456" v="6371" actId="20577"/>
          <ac:spMkLst>
            <pc:docMk/>
            <pc:sldMk cId="4155015654" sldId="409"/>
            <ac:spMk id="92" creationId="{F4DA51D6-26DE-4848-99BF-80DDE45C0793}"/>
          </ac:spMkLst>
        </pc:spChg>
        <pc:spChg chg="del">
          <ac:chgData name="Mark Grimes" userId="b58058b7-2ab8-4142-95e7-f7e306e81118" providerId="ADAL" clId="{24B37D59-6E88-484A-9D02-55E6AB2AE13A}" dt="2017-12-20T19:26:31.740" v="6370" actId="478"/>
          <ac:spMkLst>
            <pc:docMk/>
            <pc:sldMk cId="4155015654" sldId="409"/>
            <ac:spMk id="95" creationId="{35A62502-F2DF-4EE3-A0B7-7F5A56B9AD63}"/>
          </ac:spMkLst>
        </pc:spChg>
        <pc:spChg chg="del">
          <ac:chgData name="Mark Grimes" userId="b58058b7-2ab8-4142-95e7-f7e306e81118" providerId="ADAL" clId="{24B37D59-6E88-484A-9D02-55E6AB2AE13A}" dt="2017-12-20T19:26:31.740" v="6370" actId="478"/>
          <ac:spMkLst>
            <pc:docMk/>
            <pc:sldMk cId="4155015654" sldId="409"/>
            <ac:spMk id="100"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101"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107"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116"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117"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118" creationId="{00000000-0000-0000-0000-000000000000}"/>
          </ac:spMkLst>
        </pc:spChg>
        <pc:spChg chg="add">
          <ac:chgData name="Mark Grimes" userId="b58058b7-2ab8-4142-95e7-f7e306e81118" providerId="ADAL" clId="{24B37D59-6E88-484A-9D02-55E6AB2AE13A}" dt="2017-12-20T19:26:32.456" v="6371" actId="20577"/>
          <ac:spMkLst>
            <pc:docMk/>
            <pc:sldMk cId="4155015654" sldId="409"/>
            <ac:spMk id="119" creationId="{27E15FD7-6B8D-4E8C-97EE-CE6E9E6667CC}"/>
          </ac:spMkLst>
        </pc:spChg>
        <pc:spChg chg="add">
          <ac:chgData name="Mark Grimes" userId="b58058b7-2ab8-4142-95e7-f7e306e81118" providerId="ADAL" clId="{24B37D59-6E88-484A-9D02-55E6AB2AE13A}" dt="2017-12-20T19:26:32.456" v="6371" actId="20577"/>
          <ac:spMkLst>
            <pc:docMk/>
            <pc:sldMk cId="4155015654" sldId="409"/>
            <ac:spMk id="120" creationId="{A2FF8D26-EBB9-46C2-A109-9A6289913E14}"/>
          </ac:spMkLst>
        </pc:spChg>
        <pc:spChg chg="add">
          <ac:chgData name="Mark Grimes" userId="b58058b7-2ab8-4142-95e7-f7e306e81118" providerId="ADAL" clId="{24B37D59-6E88-484A-9D02-55E6AB2AE13A}" dt="2017-12-20T19:26:32.456" v="6371" actId="20577"/>
          <ac:spMkLst>
            <pc:docMk/>
            <pc:sldMk cId="4155015654" sldId="409"/>
            <ac:spMk id="121" creationId="{EA5249C1-1890-42C5-8051-FE75A20B1211}"/>
          </ac:spMkLst>
        </pc:spChg>
        <pc:spChg chg="add">
          <ac:chgData name="Mark Grimes" userId="b58058b7-2ab8-4142-95e7-f7e306e81118" providerId="ADAL" clId="{24B37D59-6E88-484A-9D02-55E6AB2AE13A}" dt="2017-12-20T19:26:32.456" v="6371" actId="20577"/>
          <ac:spMkLst>
            <pc:docMk/>
            <pc:sldMk cId="4155015654" sldId="409"/>
            <ac:spMk id="122" creationId="{FBD1E143-71C4-450D-94A3-34B20CC2CDAA}"/>
          </ac:spMkLst>
        </pc:spChg>
        <pc:spChg chg="add">
          <ac:chgData name="Mark Grimes" userId="b58058b7-2ab8-4142-95e7-f7e306e81118" providerId="ADAL" clId="{24B37D59-6E88-484A-9D02-55E6AB2AE13A}" dt="2017-12-20T19:26:32.456" v="6371" actId="20577"/>
          <ac:spMkLst>
            <pc:docMk/>
            <pc:sldMk cId="4155015654" sldId="409"/>
            <ac:spMk id="123" creationId="{A6FD59C9-4CCA-42F4-807C-BBCAF8C2040B}"/>
          </ac:spMkLst>
        </pc:spChg>
        <pc:spChg chg="add">
          <ac:chgData name="Mark Grimes" userId="b58058b7-2ab8-4142-95e7-f7e306e81118" providerId="ADAL" clId="{24B37D59-6E88-484A-9D02-55E6AB2AE13A}" dt="2017-12-20T19:26:32.456" v="6371" actId="20577"/>
          <ac:spMkLst>
            <pc:docMk/>
            <pc:sldMk cId="4155015654" sldId="409"/>
            <ac:spMk id="124" creationId="{7D422AF3-B473-47B0-AB86-F77679F3F880}"/>
          </ac:spMkLst>
        </pc:spChg>
        <pc:spChg chg="add">
          <ac:chgData name="Mark Grimes" userId="b58058b7-2ab8-4142-95e7-f7e306e81118" providerId="ADAL" clId="{24B37D59-6E88-484A-9D02-55E6AB2AE13A}" dt="2017-12-20T19:26:32.456" v="6371" actId="20577"/>
          <ac:spMkLst>
            <pc:docMk/>
            <pc:sldMk cId="4155015654" sldId="409"/>
            <ac:spMk id="134" creationId="{E0327D69-A06F-4C47-9A12-419A0C45E969}"/>
          </ac:spMkLst>
        </pc:spChg>
        <pc:spChg chg="del">
          <ac:chgData name="Mark Grimes" userId="b58058b7-2ab8-4142-95e7-f7e306e81118" providerId="ADAL" clId="{24B37D59-6E88-484A-9D02-55E6AB2AE13A}" dt="2017-12-20T19:26:31.740" v="6370" actId="478"/>
          <ac:spMkLst>
            <pc:docMk/>
            <pc:sldMk cId="4155015654" sldId="409"/>
            <ac:spMk id="135"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136" creationId="{00000000-0000-0000-0000-000000000000}"/>
          </ac:spMkLst>
        </pc:spChg>
        <pc:spChg chg="add">
          <ac:chgData name="Mark Grimes" userId="b58058b7-2ab8-4142-95e7-f7e306e81118" providerId="ADAL" clId="{24B37D59-6E88-484A-9D02-55E6AB2AE13A}" dt="2017-12-20T19:26:32.456" v="6371" actId="20577"/>
          <ac:spMkLst>
            <pc:docMk/>
            <pc:sldMk cId="4155015654" sldId="409"/>
            <ac:spMk id="151" creationId="{98572E1E-5094-4A29-B147-1325866AEDC7}"/>
          </ac:spMkLst>
        </pc:spChg>
        <pc:spChg chg="add">
          <ac:chgData name="Mark Grimes" userId="b58058b7-2ab8-4142-95e7-f7e306e81118" providerId="ADAL" clId="{24B37D59-6E88-484A-9D02-55E6AB2AE13A}" dt="2017-12-20T19:26:32.456" v="6371" actId="20577"/>
          <ac:spMkLst>
            <pc:docMk/>
            <pc:sldMk cId="4155015654" sldId="409"/>
            <ac:spMk id="152" creationId="{3784CDDD-C441-43D3-98BA-9CC59A14A31C}"/>
          </ac:spMkLst>
        </pc:spChg>
        <pc:spChg chg="del">
          <ac:chgData name="Mark Grimes" userId="b58058b7-2ab8-4142-95e7-f7e306e81118" providerId="ADAL" clId="{24B37D59-6E88-484A-9D02-55E6AB2AE13A}" dt="2017-12-20T19:26:31.740" v="6370" actId="478"/>
          <ac:spMkLst>
            <pc:docMk/>
            <pc:sldMk cId="4155015654" sldId="409"/>
            <ac:spMk id="153"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154"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155" creationId="{00000000-0000-0000-0000-000000000000}"/>
          </ac:spMkLst>
        </pc:spChg>
        <pc:spChg chg="del">
          <ac:chgData name="Mark Grimes" userId="b58058b7-2ab8-4142-95e7-f7e306e81118" providerId="ADAL" clId="{24B37D59-6E88-484A-9D02-55E6AB2AE13A}" dt="2017-12-20T19:26:31.740" v="6370" actId="478"/>
          <ac:spMkLst>
            <pc:docMk/>
            <pc:sldMk cId="4155015654" sldId="409"/>
            <ac:spMk id="156" creationId="{00000000-0000-0000-0000-000000000000}"/>
          </ac:spMkLst>
        </pc:spChg>
        <pc:spChg chg="add">
          <ac:chgData name="Mark Grimes" userId="b58058b7-2ab8-4142-95e7-f7e306e81118" providerId="ADAL" clId="{24B37D59-6E88-484A-9D02-55E6AB2AE13A}" dt="2017-12-20T19:26:32.456" v="6371" actId="20577"/>
          <ac:spMkLst>
            <pc:docMk/>
            <pc:sldMk cId="4155015654" sldId="409"/>
            <ac:spMk id="158" creationId="{7A8F6488-6C60-4F9E-BC6A-DABED34ABAE7}"/>
          </ac:spMkLst>
        </pc:spChg>
        <pc:spChg chg="add">
          <ac:chgData name="Mark Grimes" userId="b58058b7-2ab8-4142-95e7-f7e306e81118" providerId="ADAL" clId="{24B37D59-6E88-484A-9D02-55E6AB2AE13A}" dt="2017-12-20T19:26:32.456" v="6371" actId="20577"/>
          <ac:spMkLst>
            <pc:docMk/>
            <pc:sldMk cId="4155015654" sldId="409"/>
            <ac:spMk id="170" creationId="{746A530F-93AC-44EA-9405-CF08DD2FADB3}"/>
          </ac:spMkLst>
        </pc:spChg>
        <pc:spChg chg="add">
          <ac:chgData name="Mark Grimes" userId="b58058b7-2ab8-4142-95e7-f7e306e81118" providerId="ADAL" clId="{24B37D59-6E88-484A-9D02-55E6AB2AE13A}" dt="2017-12-20T19:26:32.456" v="6371" actId="20577"/>
          <ac:spMkLst>
            <pc:docMk/>
            <pc:sldMk cId="4155015654" sldId="409"/>
            <ac:spMk id="171" creationId="{54E0B711-7646-42CD-8A16-15295F57D3A7}"/>
          </ac:spMkLst>
        </pc:spChg>
        <pc:spChg chg="add">
          <ac:chgData name="Mark Grimes" userId="b58058b7-2ab8-4142-95e7-f7e306e81118" providerId="ADAL" clId="{24B37D59-6E88-484A-9D02-55E6AB2AE13A}" dt="2017-12-20T19:26:32.456" v="6371" actId="20577"/>
          <ac:spMkLst>
            <pc:docMk/>
            <pc:sldMk cId="4155015654" sldId="409"/>
            <ac:spMk id="172" creationId="{EF06E1D8-7666-4A45-93DE-73C37E62AA36}"/>
          </ac:spMkLst>
        </pc:spChg>
        <pc:spChg chg="add">
          <ac:chgData name="Mark Grimes" userId="b58058b7-2ab8-4142-95e7-f7e306e81118" providerId="ADAL" clId="{24B37D59-6E88-484A-9D02-55E6AB2AE13A}" dt="2017-12-20T19:26:32.456" v="6371" actId="20577"/>
          <ac:spMkLst>
            <pc:docMk/>
            <pc:sldMk cId="4155015654" sldId="409"/>
            <ac:spMk id="173" creationId="{6BE64237-7438-400C-9CE4-1EA961346EB1}"/>
          </ac:spMkLst>
        </pc:spChg>
        <pc:spChg chg="add">
          <ac:chgData name="Mark Grimes" userId="b58058b7-2ab8-4142-95e7-f7e306e81118" providerId="ADAL" clId="{24B37D59-6E88-484A-9D02-55E6AB2AE13A}" dt="2017-12-20T19:26:32.456" v="6371" actId="20577"/>
          <ac:spMkLst>
            <pc:docMk/>
            <pc:sldMk cId="4155015654" sldId="409"/>
            <ac:spMk id="180" creationId="{1EB05CE2-4986-44BE-BDB6-4D5784AFF60B}"/>
          </ac:spMkLst>
        </pc:spChg>
        <pc:spChg chg="add">
          <ac:chgData name="Mark Grimes" userId="b58058b7-2ab8-4142-95e7-f7e306e81118" providerId="ADAL" clId="{24B37D59-6E88-484A-9D02-55E6AB2AE13A}" dt="2017-12-20T19:26:32.456" v="6371" actId="20577"/>
          <ac:spMkLst>
            <pc:docMk/>
            <pc:sldMk cId="4155015654" sldId="409"/>
            <ac:spMk id="181" creationId="{C8BF9FF7-BED2-4C6D-8BB7-050D4EA3DC2E}"/>
          </ac:spMkLst>
        </pc:spChg>
        <pc:spChg chg="add">
          <ac:chgData name="Mark Grimes" userId="b58058b7-2ab8-4142-95e7-f7e306e81118" providerId="ADAL" clId="{24B37D59-6E88-484A-9D02-55E6AB2AE13A}" dt="2017-12-20T19:26:32.456" v="6371" actId="20577"/>
          <ac:spMkLst>
            <pc:docMk/>
            <pc:sldMk cId="4155015654" sldId="409"/>
            <ac:spMk id="187" creationId="{EDD5A680-08FA-4EE0-A639-413CF8AB8774}"/>
          </ac:spMkLst>
        </pc:spChg>
        <pc:spChg chg="add">
          <ac:chgData name="Mark Grimes" userId="b58058b7-2ab8-4142-95e7-f7e306e81118" providerId="ADAL" clId="{24B37D59-6E88-484A-9D02-55E6AB2AE13A}" dt="2017-12-20T19:26:32.456" v="6371" actId="20577"/>
          <ac:spMkLst>
            <pc:docMk/>
            <pc:sldMk cId="4155015654" sldId="409"/>
            <ac:spMk id="188" creationId="{634BCBB7-D674-436C-9548-DD2D1A8214E3}"/>
          </ac:spMkLst>
        </pc:spChg>
        <pc:spChg chg="add">
          <ac:chgData name="Mark Grimes" userId="b58058b7-2ab8-4142-95e7-f7e306e81118" providerId="ADAL" clId="{24B37D59-6E88-484A-9D02-55E6AB2AE13A}" dt="2017-12-20T19:26:32.456" v="6371" actId="20577"/>
          <ac:spMkLst>
            <pc:docMk/>
            <pc:sldMk cId="4155015654" sldId="409"/>
            <ac:spMk id="189" creationId="{7AD71834-68D7-4AEB-85CB-D3478FDFF315}"/>
          </ac:spMkLst>
        </pc:spChg>
        <pc:spChg chg="add">
          <ac:chgData name="Mark Grimes" userId="b58058b7-2ab8-4142-95e7-f7e306e81118" providerId="ADAL" clId="{24B37D59-6E88-484A-9D02-55E6AB2AE13A}" dt="2017-12-20T19:26:32.456" v="6371" actId="20577"/>
          <ac:spMkLst>
            <pc:docMk/>
            <pc:sldMk cId="4155015654" sldId="409"/>
            <ac:spMk id="195" creationId="{F923138E-83EC-4D6A-8E69-A8A6D89AF2B3}"/>
          </ac:spMkLst>
        </pc:spChg>
        <pc:spChg chg="add">
          <ac:chgData name="Mark Grimes" userId="b58058b7-2ab8-4142-95e7-f7e306e81118" providerId="ADAL" clId="{24B37D59-6E88-484A-9D02-55E6AB2AE13A}" dt="2017-12-20T19:26:32.456" v="6371" actId="20577"/>
          <ac:spMkLst>
            <pc:docMk/>
            <pc:sldMk cId="4155015654" sldId="409"/>
            <ac:spMk id="196" creationId="{DADA5664-8170-4913-9463-1B817561EC74}"/>
          </ac:spMkLst>
        </pc:spChg>
        <pc:spChg chg="add">
          <ac:chgData name="Mark Grimes" userId="b58058b7-2ab8-4142-95e7-f7e306e81118" providerId="ADAL" clId="{24B37D59-6E88-484A-9D02-55E6AB2AE13A}" dt="2017-12-20T19:26:32.456" v="6371" actId="20577"/>
          <ac:spMkLst>
            <pc:docMk/>
            <pc:sldMk cId="4155015654" sldId="409"/>
            <ac:spMk id="200" creationId="{2EDC95EE-EBAC-411C-B6E2-322DF840D51D}"/>
          </ac:spMkLst>
        </pc:spChg>
        <pc:grpChg chg="del">
          <ac:chgData name="Mark Grimes" userId="b58058b7-2ab8-4142-95e7-f7e306e81118" providerId="ADAL" clId="{24B37D59-6E88-484A-9D02-55E6AB2AE13A}" dt="2017-12-20T19:26:31.740" v="6370" actId="478"/>
          <ac:grpSpMkLst>
            <pc:docMk/>
            <pc:sldMk cId="4155015654" sldId="409"/>
            <ac:grpSpMk id="59" creationId="{00000000-0000-0000-0000-000000000000}"/>
          </ac:grpSpMkLst>
        </pc:grpChg>
        <pc:grpChg chg="del">
          <ac:chgData name="Mark Grimes" userId="b58058b7-2ab8-4142-95e7-f7e306e81118" providerId="ADAL" clId="{24B37D59-6E88-484A-9D02-55E6AB2AE13A}" dt="2017-12-20T19:26:31.740" v="6370" actId="478"/>
          <ac:grpSpMkLst>
            <pc:docMk/>
            <pc:sldMk cId="4155015654" sldId="409"/>
            <ac:grpSpMk id="66" creationId="{00000000-0000-0000-0000-000000000000}"/>
          </ac:grpSpMkLst>
        </pc:grpChg>
        <pc:grpChg chg="del">
          <ac:chgData name="Mark Grimes" userId="b58058b7-2ab8-4142-95e7-f7e306e81118" providerId="ADAL" clId="{24B37D59-6E88-484A-9D02-55E6AB2AE13A}" dt="2017-12-20T19:26:31.740" v="6370" actId="478"/>
          <ac:grpSpMkLst>
            <pc:docMk/>
            <pc:sldMk cId="4155015654" sldId="409"/>
            <ac:grpSpMk id="71" creationId="{00000000-0000-0000-0000-000000000000}"/>
          </ac:grpSpMkLst>
        </pc:grpChg>
        <pc:grpChg chg="add">
          <ac:chgData name="Mark Grimes" userId="b58058b7-2ab8-4142-95e7-f7e306e81118" providerId="ADAL" clId="{24B37D59-6E88-484A-9D02-55E6AB2AE13A}" dt="2017-12-20T19:26:32.456" v="6371" actId="20577"/>
          <ac:grpSpMkLst>
            <pc:docMk/>
            <pc:sldMk cId="4155015654" sldId="409"/>
            <ac:grpSpMk id="81" creationId="{BC4B4111-E854-4F2B-AC08-9A948086641E}"/>
          </ac:grpSpMkLst>
        </pc:grpChg>
        <pc:grpChg chg="add">
          <ac:chgData name="Mark Grimes" userId="b58058b7-2ab8-4142-95e7-f7e306e81118" providerId="ADAL" clId="{24B37D59-6E88-484A-9D02-55E6AB2AE13A}" dt="2017-12-20T19:26:32.456" v="6371" actId="20577"/>
          <ac:grpSpMkLst>
            <pc:docMk/>
            <pc:sldMk cId="4155015654" sldId="409"/>
            <ac:grpSpMk id="93" creationId="{032865B3-74AB-4A4E-8D36-309D202C66B7}"/>
          </ac:grpSpMkLst>
        </pc:grpChg>
        <pc:grpChg chg="add">
          <ac:chgData name="Mark Grimes" userId="b58058b7-2ab8-4142-95e7-f7e306e81118" providerId="ADAL" clId="{24B37D59-6E88-484A-9D02-55E6AB2AE13A}" dt="2017-12-20T19:26:32.456" v="6371" actId="20577"/>
          <ac:grpSpMkLst>
            <pc:docMk/>
            <pc:sldMk cId="4155015654" sldId="409"/>
            <ac:grpSpMk id="99" creationId="{E4CC8259-33C9-4FD2-BDCF-92A394FD8251}"/>
          </ac:grpSpMkLst>
        </pc:grpChg>
        <pc:grpChg chg="del">
          <ac:chgData name="Mark Grimes" userId="b58058b7-2ab8-4142-95e7-f7e306e81118" providerId="ADAL" clId="{24B37D59-6E88-484A-9D02-55E6AB2AE13A}" dt="2017-12-20T19:26:31.740" v="6370" actId="478"/>
          <ac:grpSpMkLst>
            <pc:docMk/>
            <pc:sldMk cId="4155015654" sldId="409"/>
            <ac:grpSpMk id="102" creationId="{00000000-0000-0000-0000-000000000000}"/>
          </ac:grpSpMkLst>
        </pc:grpChg>
        <pc:grpChg chg="add">
          <ac:chgData name="Mark Grimes" userId="b58058b7-2ab8-4142-95e7-f7e306e81118" providerId="ADAL" clId="{24B37D59-6E88-484A-9D02-55E6AB2AE13A}" dt="2017-12-20T19:26:32.456" v="6371" actId="20577"/>
          <ac:grpSpMkLst>
            <pc:docMk/>
            <pc:sldMk cId="4155015654" sldId="409"/>
            <ac:grpSpMk id="112" creationId="{7F7B782B-E16E-46C9-8132-0175B20FA503}"/>
          </ac:grpSpMkLst>
        </pc:grpChg>
        <pc:grpChg chg="del">
          <ac:chgData name="Mark Grimes" userId="b58058b7-2ab8-4142-95e7-f7e306e81118" providerId="ADAL" clId="{24B37D59-6E88-484A-9D02-55E6AB2AE13A}" dt="2017-12-20T19:26:31.740" v="6370" actId="478"/>
          <ac:grpSpMkLst>
            <pc:docMk/>
            <pc:sldMk cId="4155015654" sldId="409"/>
            <ac:grpSpMk id="125" creationId="{00000000-0000-0000-0000-000000000000}"/>
          </ac:grpSpMkLst>
        </pc:grpChg>
        <pc:grpChg chg="del">
          <ac:chgData name="Mark Grimes" userId="b58058b7-2ab8-4142-95e7-f7e306e81118" providerId="ADAL" clId="{24B37D59-6E88-484A-9D02-55E6AB2AE13A}" dt="2017-12-20T19:26:31.740" v="6370" actId="478"/>
          <ac:grpSpMkLst>
            <pc:docMk/>
            <pc:sldMk cId="4155015654" sldId="409"/>
            <ac:grpSpMk id="130" creationId="{00000000-0000-0000-0000-000000000000}"/>
          </ac:grpSpMkLst>
        </pc:grpChg>
        <pc:grpChg chg="add">
          <ac:chgData name="Mark Grimes" userId="b58058b7-2ab8-4142-95e7-f7e306e81118" providerId="ADAL" clId="{24B37D59-6E88-484A-9D02-55E6AB2AE13A}" dt="2017-12-20T19:26:32.456" v="6371" actId="20577"/>
          <ac:grpSpMkLst>
            <pc:docMk/>
            <pc:sldMk cId="4155015654" sldId="409"/>
            <ac:grpSpMk id="137" creationId="{63E7DAD4-2A46-4063-BCFF-B2B3CBAB5181}"/>
          </ac:grpSpMkLst>
        </pc:grpChg>
        <pc:grpChg chg="add">
          <ac:chgData name="Mark Grimes" userId="b58058b7-2ab8-4142-95e7-f7e306e81118" providerId="ADAL" clId="{24B37D59-6E88-484A-9D02-55E6AB2AE13A}" dt="2017-12-20T19:26:32.456" v="6371" actId="20577"/>
          <ac:grpSpMkLst>
            <pc:docMk/>
            <pc:sldMk cId="4155015654" sldId="409"/>
            <ac:grpSpMk id="142" creationId="{DC76C26B-086F-41D3-91F7-C95178E4EDB2}"/>
          </ac:grpSpMkLst>
        </pc:grpChg>
        <pc:grpChg chg="del">
          <ac:chgData name="Mark Grimes" userId="b58058b7-2ab8-4142-95e7-f7e306e81118" providerId="ADAL" clId="{24B37D59-6E88-484A-9D02-55E6AB2AE13A}" dt="2017-12-20T19:26:31.740" v="6370" actId="478"/>
          <ac:grpSpMkLst>
            <pc:docMk/>
            <pc:sldMk cId="4155015654" sldId="409"/>
            <ac:grpSpMk id="143" creationId="{00000000-0000-0000-0000-000000000000}"/>
          </ac:grpSpMkLst>
        </pc:grpChg>
        <pc:grpChg chg="add">
          <ac:chgData name="Mark Grimes" userId="b58058b7-2ab8-4142-95e7-f7e306e81118" providerId="ADAL" clId="{24B37D59-6E88-484A-9D02-55E6AB2AE13A}" dt="2017-12-20T19:26:32.456" v="6371" actId="20577"/>
          <ac:grpSpMkLst>
            <pc:docMk/>
            <pc:sldMk cId="4155015654" sldId="409"/>
            <ac:grpSpMk id="159" creationId="{968CFF14-5DA1-4D50-8AB8-68C0B2BEA95B}"/>
          </ac:grpSpMkLst>
        </pc:grpChg>
        <pc:grpChg chg="add">
          <ac:chgData name="Mark Grimes" userId="b58058b7-2ab8-4142-95e7-f7e306e81118" providerId="ADAL" clId="{24B37D59-6E88-484A-9D02-55E6AB2AE13A}" dt="2017-12-20T19:26:32.456" v="6371" actId="20577"/>
          <ac:grpSpMkLst>
            <pc:docMk/>
            <pc:sldMk cId="4155015654" sldId="409"/>
            <ac:grpSpMk id="165" creationId="{DB6FC812-564B-451A-B25F-2BCCE7502466}"/>
          </ac:grpSpMkLst>
        </pc:grpChg>
        <pc:grpChg chg="add">
          <ac:chgData name="Mark Grimes" userId="b58058b7-2ab8-4142-95e7-f7e306e81118" providerId="ADAL" clId="{24B37D59-6E88-484A-9D02-55E6AB2AE13A}" dt="2017-12-20T19:26:32.456" v="6371" actId="20577"/>
          <ac:grpSpMkLst>
            <pc:docMk/>
            <pc:sldMk cId="4155015654" sldId="409"/>
            <ac:grpSpMk id="182" creationId="{942482C5-2DA5-46AA-88B6-5394D28D0FFB}"/>
          </ac:grpSpMkLst>
        </pc:grpChg>
        <pc:grpChg chg="add">
          <ac:chgData name="Mark Grimes" userId="b58058b7-2ab8-4142-95e7-f7e306e81118" providerId="ADAL" clId="{24B37D59-6E88-484A-9D02-55E6AB2AE13A}" dt="2017-12-20T19:26:32.456" v="6371" actId="20577"/>
          <ac:grpSpMkLst>
            <pc:docMk/>
            <pc:sldMk cId="4155015654" sldId="409"/>
            <ac:grpSpMk id="190" creationId="{5AB57F4B-7BD2-4D54-9D7E-AF226646C867}"/>
          </ac:grpSpMkLst>
        </pc:grpChg>
        <pc:cxnChg chg="del">
          <ac:chgData name="Mark Grimes" userId="b58058b7-2ab8-4142-95e7-f7e306e81118" providerId="ADAL" clId="{24B37D59-6E88-484A-9D02-55E6AB2AE13A}" dt="2017-12-20T19:26:31.740" v="6370" actId="478"/>
          <ac:cxnSpMkLst>
            <pc:docMk/>
            <pc:sldMk cId="4155015654" sldId="409"/>
            <ac:cxnSpMk id="45" creationId="{00000000-0000-0000-0000-000000000000}"/>
          </ac:cxnSpMkLst>
        </pc:cxnChg>
        <pc:cxnChg chg="del">
          <ac:chgData name="Mark Grimes" userId="b58058b7-2ab8-4142-95e7-f7e306e81118" providerId="ADAL" clId="{24B37D59-6E88-484A-9D02-55E6AB2AE13A}" dt="2017-12-20T19:26:31.740" v="6370" actId="478"/>
          <ac:cxnSpMkLst>
            <pc:docMk/>
            <pc:sldMk cId="4155015654" sldId="409"/>
            <ac:cxnSpMk id="62" creationId="{E8A6FC93-F813-4746-8D2D-F0651854AB4F}"/>
          </ac:cxnSpMkLst>
        </pc:cxnChg>
        <pc:cxnChg chg="del">
          <ac:chgData name="Mark Grimes" userId="b58058b7-2ab8-4142-95e7-f7e306e81118" providerId="ADAL" clId="{24B37D59-6E88-484A-9D02-55E6AB2AE13A}" dt="2017-12-20T19:26:31.740" v="6370" actId="478"/>
          <ac:cxnSpMkLst>
            <pc:docMk/>
            <pc:sldMk cId="4155015654" sldId="409"/>
            <ac:cxnSpMk id="157" creationId="{00000000-0000-0000-0000-000000000000}"/>
          </ac:cxnSpMkLst>
        </pc:cxnChg>
        <pc:cxnChg chg="del">
          <ac:chgData name="Mark Grimes" userId="b58058b7-2ab8-4142-95e7-f7e306e81118" providerId="ADAL" clId="{24B37D59-6E88-484A-9D02-55E6AB2AE13A}" dt="2017-12-20T19:26:31.740" v="6370" actId="478"/>
          <ac:cxnSpMkLst>
            <pc:docMk/>
            <pc:sldMk cId="4155015654" sldId="409"/>
            <ac:cxnSpMk id="164" creationId="{00000000-0000-0000-0000-000000000000}"/>
          </ac:cxnSpMkLst>
        </pc:cxnChg>
        <pc:cxnChg chg="del">
          <ac:chgData name="Mark Grimes" userId="b58058b7-2ab8-4142-95e7-f7e306e81118" providerId="ADAL" clId="{24B37D59-6E88-484A-9D02-55E6AB2AE13A}" dt="2017-12-20T19:26:31.740" v="6370" actId="478"/>
          <ac:cxnSpMkLst>
            <pc:docMk/>
            <pc:sldMk cId="4155015654" sldId="409"/>
            <ac:cxnSpMk id="169" creationId="{00000000-0000-0000-0000-000000000000}"/>
          </ac:cxnSpMkLst>
        </pc:cxnChg>
        <pc:cxnChg chg="add">
          <ac:chgData name="Mark Grimes" userId="b58058b7-2ab8-4142-95e7-f7e306e81118" providerId="ADAL" clId="{24B37D59-6E88-484A-9D02-55E6AB2AE13A}" dt="2017-12-20T19:26:32.456" v="6371" actId="20577"/>
          <ac:cxnSpMkLst>
            <pc:docMk/>
            <pc:sldMk cId="4155015654" sldId="409"/>
            <ac:cxnSpMk id="174" creationId="{EF521330-4221-4119-A669-EE17358DB138}"/>
          </ac:cxnSpMkLst>
        </pc:cxnChg>
        <pc:cxnChg chg="add">
          <ac:chgData name="Mark Grimes" userId="b58058b7-2ab8-4142-95e7-f7e306e81118" providerId="ADAL" clId="{24B37D59-6E88-484A-9D02-55E6AB2AE13A}" dt="2017-12-20T19:26:32.456" v="6371" actId="20577"/>
          <ac:cxnSpMkLst>
            <pc:docMk/>
            <pc:sldMk cId="4155015654" sldId="409"/>
            <ac:cxnSpMk id="175" creationId="{5CDEC941-F881-4457-B6A1-C52AA7EAEE51}"/>
          </ac:cxnSpMkLst>
        </pc:cxnChg>
        <pc:cxnChg chg="add">
          <ac:chgData name="Mark Grimes" userId="b58058b7-2ab8-4142-95e7-f7e306e81118" providerId="ADAL" clId="{24B37D59-6E88-484A-9D02-55E6AB2AE13A}" dt="2017-12-20T19:26:32.456" v="6371" actId="20577"/>
          <ac:cxnSpMkLst>
            <pc:docMk/>
            <pc:sldMk cId="4155015654" sldId="409"/>
            <ac:cxnSpMk id="176" creationId="{F90B4B46-CF06-4277-8CDA-AE0554C21F43}"/>
          </ac:cxnSpMkLst>
        </pc:cxnChg>
        <pc:cxnChg chg="add">
          <ac:chgData name="Mark Grimes" userId="b58058b7-2ab8-4142-95e7-f7e306e81118" providerId="ADAL" clId="{24B37D59-6E88-484A-9D02-55E6AB2AE13A}" dt="2017-12-20T19:26:32.456" v="6371" actId="20577"/>
          <ac:cxnSpMkLst>
            <pc:docMk/>
            <pc:sldMk cId="4155015654" sldId="409"/>
            <ac:cxnSpMk id="177" creationId="{4365EBC4-7C40-4962-BD20-52AB36F88620}"/>
          </ac:cxnSpMkLst>
        </pc:cxnChg>
        <pc:cxnChg chg="add">
          <ac:chgData name="Mark Grimes" userId="b58058b7-2ab8-4142-95e7-f7e306e81118" providerId="ADAL" clId="{24B37D59-6E88-484A-9D02-55E6AB2AE13A}" dt="2017-12-20T19:26:32.456" v="6371" actId="20577"/>
          <ac:cxnSpMkLst>
            <pc:docMk/>
            <pc:sldMk cId="4155015654" sldId="409"/>
            <ac:cxnSpMk id="178" creationId="{F53F8B24-AFBB-4918-8D94-85BD62AE670D}"/>
          </ac:cxnSpMkLst>
        </pc:cxnChg>
        <pc:cxnChg chg="add">
          <ac:chgData name="Mark Grimes" userId="b58058b7-2ab8-4142-95e7-f7e306e81118" providerId="ADAL" clId="{24B37D59-6E88-484A-9D02-55E6AB2AE13A}" dt="2017-12-20T19:26:32.456" v="6371" actId="20577"/>
          <ac:cxnSpMkLst>
            <pc:docMk/>
            <pc:sldMk cId="4155015654" sldId="409"/>
            <ac:cxnSpMk id="179" creationId="{48C87E06-90D6-46FC-B674-04B03382B6B7}"/>
          </ac:cxnSpMkLst>
        </pc:cxnChg>
        <pc:cxnChg chg="add">
          <ac:chgData name="Mark Grimes" userId="b58058b7-2ab8-4142-95e7-f7e306e81118" providerId="ADAL" clId="{24B37D59-6E88-484A-9D02-55E6AB2AE13A}" dt="2017-12-20T19:26:32.456" v="6371" actId="20577"/>
          <ac:cxnSpMkLst>
            <pc:docMk/>
            <pc:sldMk cId="4155015654" sldId="409"/>
            <ac:cxnSpMk id="197" creationId="{329C3B08-4A36-4F90-B9FB-605BAAF1F32E}"/>
          </ac:cxnSpMkLst>
        </pc:cxnChg>
        <pc:cxnChg chg="add">
          <ac:chgData name="Mark Grimes" userId="b58058b7-2ab8-4142-95e7-f7e306e81118" providerId="ADAL" clId="{24B37D59-6E88-484A-9D02-55E6AB2AE13A}" dt="2017-12-20T19:26:32.456" v="6371" actId="20577"/>
          <ac:cxnSpMkLst>
            <pc:docMk/>
            <pc:sldMk cId="4155015654" sldId="409"/>
            <ac:cxnSpMk id="198" creationId="{056098E5-E37D-4DB7-9E88-4D8844E01A32}"/>
          </ac:cxnSpMkLst>
        </pc:cxnChg>
        <pc:cxnChg chg="add">
          <ac:chgData name="Mark Grimes" userId="b58058b7-2ab8-4142-95e7-f7e306e81118" providerId="ADAL" clId="{24B37D59-6E88-484A-9D02-55E6AB2AE13A}" dt="2017-12-20T19:26:32.456" v="6371" actId="20577"/>
          <ac:cxnSpMkLst>
            <pc:docMk/>
            <pc:sldMk cId="4155015654" sldId="409"/>
            <ac:cxnSpMk id="199" creationId="{B4866A50-1BDB-4FD6-9692-176A50086174}"/>
          </ac:cxnSpMkLst>
        </pc:cxnChg>
        <pc:cxnChg chg="add">
          <ac:chgData name="Mark Grimes" userId="b58058b7-2ab8-4142-95e7-f7e306e81118" providerId="ADAL" clId="{24B37D59-6E88-484A-9D02-55E6AB2AE13A}" dt="2017-12-20T19:26:32.456" v="6371" actId="20577"/>
          <ac:cxnSpMkLst>
            <pc:docMk/>
            <pc:sldMk cId="4155015654" sldId="409"/>
            <ac:cxnSpMk id="201" creationId="{FBE296B5-27C9-4D8C-A1A7-FC4F98B7C210}"/>
          </ac:cxnSpMkLst>
        </pc:cxnChg>
        <pc:cxnChg chg="add">
          <ac:chgData name="Mark Grimes" userId="b58058b7-2ab8-4142-95e7-f7e306e81118" providerId="ADAL" clId="{24B37D59-6E88-484A-9D02-55E6AB2AE13A}" dt="2017-12-20T19:26:32.456" v="6371" actId="20577"/>
          <ac:cxnSpMkLst>
            <pc:docMk/>
            <pc:sldMk cId="4155015654" sldId="409"/>
            <ac:cxnSpMk id="202" creationId="{FB11B31E-798F-4340-8803-814D8C595E0B}"/>
          </ac:cxnSpMkLst>
        </pc:cxnChg>
        <pc:cxnChg chg="add">
          <ac:chgData name="Mark Grimes" userId="b58058b7-2ab8-4142-95e7-f7e306e81118" providerId="ADAL" clId="{24B37D59-6E88-484A-9D02-55E6AB2AE13A}" dt="2017-12-20T19:26:32.456" v="6371" actId="20577"/>
          <ac:cxnSpMkLst>
            <pc:docMk/>
            <pc:sldMk cId="4155015654" sldId="409"/>
            <ac:cxnSpMk id="203" creationId="{12E88197-CB25-4E46-B60C-5F06C62237D2}"/>
          </ac:cxnSpMkLst>
        </pc:cxnChg>
      </pc:sldChg>
      <pc:sldChg chg="addSp delSp modSp add modNotesTx">
        <pc:chgData name="Mark Grimes" userId="b58058b7-2ab8-4142-95e7-f7e306e81118" providerId="ADAL" clId="{24B37D59-6E88-484A-9D02-55E6AB2AE13A}" dt="2017-12-20T19:42:03.197" v="7704" actId="20577"/>
        <pc:sldMkLst>
          <pc:docMk/>
          <pc:sldMk cId="537909462" sldId="410"/>
        </pc:sldMkLst>
        <pc:spChg chg="mod">
          <ac:chgData name="Mark Grimes" userId="b58058b7-2ab8-4142-95e7-f7e306e81118" providerId="ADAL" clId="{24B37D59-6E88-484A-9D02-55E6AB2AE13A}" dt="2017-12-20T19:37:51.387" v="6872" actId="20577"/>
          <ac:spMkLst>
            <pc:docMk/>
            <pc:sldMk cId="537909462" sldId="410"/>
            <ac:spMk id="2" creationId="{00000000-0000-0000-0000-000000000000}"/>
          </ac:spMkLst>
        </pc:spChg>
        <pc:spChg chg="mod">
          <ac:chgData name="Mark Grimes" userId="b58058b7-2ab8-4142-95e7-f7e306e81118" providerId="ADAL" clId="{24B37D59-6E88-484A-9D02-55E6AB2AE13A}" dt="2017-12-20T19:33:26.609" v="6528" actId="20577"/>
          <ac:spMkLst>
            <pc:docMk/>
            <pc:sldMk cId="537909462" sldId="410"/>
            <ac:spMk id="3" creationId="{00000000-0000-0000-0000-000000000000}"/>
          </ac:spMkLst>
        </pc:spChg>
        <pc:picChg chg="del">
          <ac:chgData name="Mark Grimes" userId="b58058b7-2ab8-4142-95e7-f7e306e81118" providerId="ADAL" clId="{24B37D59-6E88-484A-9D02-55E6AB2AE13A}" dt="2017-12-20T19:33:04.269" v="6495" actId="478"/>
          <ac:picMkLst>
            <pc:docMk/>
            <pc:sldMk cId="537909462" sldId="410"/>
            <ac:picMk id="4" creationId="{D2A75D62-EAE3-40AA-9899-585273921300}"/>
          </ac:picMkLst>
        </pc:picChg>
        <pc:picChg chg="add mod">
          <ac:chgData name="Mark Grimes" userId="b58058b7-2ab8-4142-95e7-f7e306e81118" providerId="ADAL" clId="{24B37D59-6E88-484A-9D02-55E6AB2AE13A}" dt="2017-12-20T19:37:30.500" v="6870" actId="14100"/>
          <ac:picMkLst>
            <pc:docMk/>
            <pc:sldMk cId="537909462" sldId="410"/>
            <ac:picMk id="5" creationId="{3E49E269-1EB0-44BF-8FDE-00D096120FB2}"/>
          </ac:picMkLst>
        </pc:picChg>
      </pc:sldChg>
      <pc:sldMasterChg chg="modSldLayout">
        <pc:chgData name="Mark Grimes" userId="b58058b7-2ab8-4142-95e7-f7e306e81118" providerId="ADAL" clId="{24B37D59-6E88-484A-9D02-55E6AB2AE13A}" dt="2017-12-20T04:01:55.189" v="2907" actId="122"/>
        <pc:sldMasterMkLst>
          <pc:docMk/>
          <pc:sldMasterMk cId="1790270825" sldId="2147484082"/>
        </pc:sldMasterMkLst>
        <pc:sldLayoutChg chg="modSp">
          <pc:chgData name="Mark Grimes" userId="b58058b7-2ab8-4142-95e7-f7e306e81118" providerId="ADAL" clId="{24B37D59-6E88-484A-9D02-55E6AB2AE13A}" dt="2017-12-20T04:01:55.189" v="2907" actId="122"/>
          <pc:sldLayoutMkLst>
            <pc:docMk/>
            <pc:sldMasterMk cId="1790270825" sldId="2147484082"/>
            <pc:sldLayoutMk cId="4075357253" sldId="2147484130"/>
          </pc:sldLayoutMkLst>
          <pc:spChg chg="mod">
            <ac:chgData name="Mark Grimes" userId="b58058b7-2ab8-4142-95e7-f7e306e81118" providerId="ADAL" clId="{24B37D59-6E88-484A-9D02-55E6AB2AE13A}" dt="2017-12-20T04:01:55.189" v="2907" actId="122"/>
            <ac:spMkLst>
              <pc:docMk/>
              <pc:sldMasterMk cId="1790270825" sldId="2147484082"/>
              <pc:sldLayoutMk cId="4075357253" sldId="2147484130"/>
              <ac:spMk id="2" creationId="{00000000-0000-0000-0000-000000000000}"/>
            </ac:spMkLst>
          </pc:spChg>
        </pc:sldLayoutChg>
      </pc:sldMasterChg>
    </pc:docChg>
  </pc:docChgLst>
  <pc:docChgLst>
    <pc:chgData name="Jenny Chau" userId="10037FFE8A89355E@LIVE.COM" providerId="AD" clId="Web-{889571FF-263B-4A34-BA3A-EF8ABC95C026}"/>
    <pc:docChg chg="addSld modSld modSection">
      <pc:chgData name="Jenny Chau" userId="10037FFE8A89355E@LIVE.COM" providerId="AD" clId="Web-{889571FF-263B-4A34-BA3A-EF8ABC95C026}" dt="2017-11-21T20:34:57.678" v="13"/>
      <pc:docMkLst>
        <pc:docMk/>
      </pc:docMkLst>
      <pc:sldChg chg="addSp delSp modSp new">
        <pc:chgData name="Jenny Chau" userId="10037FFE8A89355E@LIVE.COM" providerId="AD" clId="Web-{889571FF-263B-4A34-BA3A-EF8ABC95C026}" dt="2017-11-21T20:34:57.678" v="13"/>
        <pc:sldMkLst>
          <pc:docMk/>
          <pc:sldMk cId="3465474124" sldId="345"/>
        </pc:sldMkLst>
        <pc:spChg chg="mod">
          <ac:chgData name="Jenny Chau" userId="10037FFE8A89355E@LIVE.COM" providerId="AD" clId="Web-{889571FF-263B-4A34-BA3A-EF8ABC95C026}" dt="2017-11-21T20:29:58.763" v="8"/>
          <ac:spMkLst>
            <pc:docMk/>
            <pc:sldMk cId="3465474124" sldId="345"/>
            <ac:spMk id="3" creationId="{8D5F0A98-146C-47D2-B8ED-845CFFA0C40E}"/>
          </ac:spMkLst>
        </pc:spChg>
        <pc:spChg chg="add del mod">
          <ac:chgData name="Jenny Chau" userId="10037FFE8A89355E@LIVE.COM" providerId="AD" clId="Web-{889571FF-263B-4A34-BA3A-EF8ABC95C026}" dt="2017-11-21T20:34:50.927" v="12"/>
          <ac:spMkLst>
            <pc:docMk/>
            <pc:sldMk cId="3465474124" sldId="345"/>
            <ac:spMk id="4" creationId="{70FF2AEB-1D8E-4416-AC2F-41BF4AA8BE5F}"/>
          </ac:spMkLst>
        </pc:spChg>
        <pc:spChg chg="add">
          <ac:chgData name="Jenny Chau" userId="10037FFE8A89355E@LIVE.COM" providerId="AD" clId="Web-{889571FF-263B-4A34-BA3A-EF8ABC95C026}" dt="2017-11-21T20:34:57.678" v="13"/>
          <ac:spMkLst>
            <pc:docMk/>
            <pc:sldMk cId="3465474124" sldId="345"/>
            <ac:spMk id="5" creationId="{AC6875B2-D8B2-4E0C-82E2-0B0DAC5835B7}"/>
          </ac:spMkLst>
        </pc:spChg>
      </pc:sldChg>
    </pc:docChg>
  </pc:docChgLst>
  <pc:docChgLst>
    <pc:chgData name="Mark Grimes" userId="b58058b7-2ab8-4142-95e7-f7e306e81118" providerId="ADAL" clId="{58D482B3-9576-4505-B95D-9737CB2AA381}"/>
  </pc:docChgLst>
  <pc:docChgLst>
    <pc:chgData name="Jenny Chau" userId="7a874a14-4d77-4e6e-a4b5-9753e7642a7e" providerId="ADAL" clId="{6C18BDE3-9E5D-46FB-9F68-34ADAE25BD4E}"/>
    <pc:docChg chg="custSel delSld modSld">
      <pc:chgData name="Jenny Chau" userId="7a874a14-4d77-4e6e-a4b5-9753e7642a7e" providerId="ADAL" clId="{6C18BDE3-9E5D-46FB-9F68-34ADAE25BD4E}" dt="2017-12-04T19:59:54.253" v="538" actId="1076"/>
      <pc:docMkLst>
        <pc:docMk/>
      </pc:docMkLst>
      <pc:sldChg chg="addSp delSp modSp modNotesTx">
        <pc:chgData name="Jenny Chau" userId="7a874a14-4d77-4e6e-a4b5-9753e7642a7e" providerId="ADAL" clId="{6C18BDE3-9E5D-46FB-9F68-34ADAE25BD4E}" dt="2017-11-28T18:46:44.005" v="526" actId="1035"/>
        <pc:sldMkLst>
          <pc:docMk/>
          <pc:sldMk cId="3465474124" sldId="345"/>
        </pc:sldMkLst>
        <pc:spChg chg="del">
          <ac:chgData name="Jenny Chau" userId="7a874a14-4d77-4e6e-a4b5-9753e7642a7e" providerId="ADAL" clId="{6C18BDE3-9E5D-46FB-9F68-34ADAE25BD4E}" dt="2017-11-28T18:39:59.366" v="2" actId="478"/>
          <ac:spMkLst>
            <pc:docMk/>
            <pc:sldMk cId="3465474124" sldId="345"/>
            <ac:spMk id="2" creationId="{099FC4FE-9428-4283-B66A-227593B7A1B0}"/>
          </ac:spMkLst>
        </pc:spChg>
        <pc:spChg chg="add mod">
          <ac:chgData name="Jenny Chau" userId="7a874a14-4d77-4e6e-a4b5-9753e7642a7e" providerId="ADAL" clId="{6C18BDE3-9E5D-46FB-9F68-34ADAE25BD4E}" dt="2017-11-28T18:46:38.849" v="514" actId="20577"/>
          <ac:spMkLst>
            <pc:docMk/>
            <pc:sldMk cId="3465474124" sldId="345"/>
            <ac:spMk id="7" creationId="{E0933091-CED4-4C71-8FA8-48481A0BEB01}"/>
          </ac:spMkLst>
        </pc:spChg>
        <pc:picChg chg="add mod">
          <ac:chgData name="Jenny Chau" userId="7a874a14-4d77-4e6e-a4b5-9753e7642a7e" providerId="ADAL" clId="{6C18BDE3-9E5D-46FB-9F68-34ADAE25BD4E}" dt="2017-11-28T18:46:44.005" v="526" actId="1035"/>
          <ac:picMkLst>
            <pc:docMk/>
            <pc:sldMk cId="3465474124" sldId="345"/>
            <ac:picMk id="6" creationId="{E99D24FC-F858-4140-BC2A-ACAC3DC773E2}"/>
          </ac:picMkLst>
        </pc:picChg>
      </pc:sldChg>
    </pc:docChg>
  </pc:docChgLst>
  <pc:docChgLst>
    <pc:chgData name="Simon Gurevich" userId="87fdd597-9ec7-4e43-9066-c30e4b4be151" providerId="ADAL" clId="{D75CF693-DE2C-4851-AB42-FA2C4A15977F}"/>
    <pc:docChg chg="undo modSld">
      <pc:chgData name="Simon Gurevich" userId="87fdd597-9ec7-4e43-9066-c30e4b4be151" providerId="ADAL" clId="{D75CF693-DE2C-4851-AB42-FA2C4A15977F}" dt="2018-01-10T04:08:22.758" v="115" actId="1035"/>
      <pc:docMkLst>
        <pc:docMk/>
      </pc:docMkLst>
      <pc:sldChg chg="modSp">
        <pc:chgData name="Simon Gurevich" userId="87fdd597-9ec7-4e43-9066-c30e4b4be151" providerId="ADAL" clId="{D75CF693-DE2C-4851-AB42-FA2C4A15977F}" dt="2018-01-10T04:06:18.119" v="63" actId="20577"/>
        <pc:sldMkLst>
          <pc:docMk/>
          <pc:sldMk cId="3139959377" sldId="328"/>
        </pc:sldMkLst>
        <pc:spChg chg="mod">
          <ac:chgData name="Simon Gurevich" userId="87fdd597-9ec7-4e43-9066-c30e4b4be151" providerId="ADAL" clId="{D75CF693-DE2C-4851-AB42-FA2C4A15977F}" dt="2018-01-10T04:05:51.407" v="42" actId="20577"/>
          <ac:spMkLst>
            <pc:docMk/>
            <pc:sldMk cId="3139959377" sldId="328"/>
            <ac:spMk id="4" creationId="{00000000-0000-0000-0000-000000000000}"/>
          </ac:spMkLst>
        </pc:spChg>
        <pc:spChg chg="mod">
          <ac:chgData name="Simon Gurevich" userId="87fdd597-9ec7-4e43-9066-c30e4b4be151" providerId="ADAL" clId="{D75CF693-DE2C-4851-AB42-FA2C4A15977F}" dt="2018-01-10T04:06:18.119" v="63" actId="20577"/>
          <ac:spMkLst>
            <pc:docMk/>
            <pc:sldMk cId="3139959377" sldId="328"/>
            <ac:spMk id="110" creationId="{00000000-0000-0000-0000-000000000000}"/>
          </ac:spMkLst>
        </pc:spChg>
        <pc:spChg chg="mod">
          <ac:chgData name="Simon Gurevich" userId="87fdd597-9ec7-4e43-9066-c30e4b4be151" providerId="ADAL" clId="{D75CF693-DE2C-4851-AB42-FA2C4A15977F}" dt="2018-01-10T04:06:11.231" v="54" actId="1037"/>
          <ac:spMkLst>
            <pc:docMk/>
            <pc:sldMk cId="3139959377" sldId="328"/>
            <ac:spMk id="134" creationId="{00000000-0000-0000-0000-000000000000}"/>
          </ac:spMkLst>
        </pc:spChg>
      </pc:sldChg>
      <pc:sldChg chg="modSp">
        <pc:chgData name="Simon Gurevich" userId="87fdd597-9ec7-4e43-9066-c30e4b4be151" providerId="ADAL" clId="{D75CF693-DE2C-4851-AB42-FA2C4A15977F}" dt="2018-01-10T04:03:54.044" v="37" actId="20577"/>
        <pc:sldMkLst>
          <pc:docMk/>
          <pc:sldMk cId="975048014" sldId="350"/>
        </pc:sldMkLst>
        <pc:spChg chg="mod">
          <ac:chgData name="Simon Gurevich" userId="87fdd597-9ec7-4e43-9066-c30e4b4be151" providerId="ADAL" clId="{D75CF693-DE2C-4851-AB42-FA2C4A15977F}" dt="2018-01-10T04:03:54.044" v="37" actId="20577"/>
          <ac:spMkLst>
            <pc:docMk/>
            <pc:sldMk cId="975048014" sldId="350"/>
            <ac:spMk id="2" creationId="{00000000-0000-0000-0000-000000000000}"/>
          </ac:spMkLst>
        </pc:spChg>
      </pc:sldChg>
      <pc:sldChg chg="addSp delSp modSp">
        <pc:chgData name="Simon Gurevich" userId="87fdd597-9ec7-4e43-9066-c30e4b4be151" providerId="ADAL" clId="{D75CF693-DE2C-4851-AB42-FA2C4A15977F}" dt="2018-01-04T05:11:09.402" v="33" actId="20577"/>
        <pc:sldMkLst>
          <pc:docMk/>
          <pc:sldMk cId="626808342" sldId="359"/>
        </pc:sldMkLst>
        <pc:graphicFrameChg chg="add del mod">
          <ac:chgData name="Simon Gurevich" userId="87fdd597-9ec7-4e43-9066-c30e4b4be151" providerId="ADAL" clId="{D75CF693-DE2C-4851-AB42-FA2C4A15977F}" dt="2018-01-04T05:08:57.983" v="8" actId="20577"/>
          <ac:graphicFrameMkLst>
            <pc:docMk/>
            <pc:sldMk cId="626808342" sldId="359"/>
            <ac:graphicFrameMk id="2" creationId="{E82F3C42-DAD5-4AE8-AE41-52FA3ABC173E}"/>
          </ac:graphicFrameMkLst>
        </pc:graphicFrameChg>
        <pc:graphicFrameChg chg="mod modGraphic">
          <ac:chgData name="Simon Gurevich" userId="87fdd597-9ec7-4e43-9066-c30e4b4be151" providerId="ADAL" clId="{D75CF693-DE2C-4851-AB42-FA2C4A15977F}" dt="2018-01-04T05:11:09.402" v="33" actId="20577"/>
          <ac:graphicFrameMkLst>
            <pc:docMk/>
            <pc:sldMk cId="626808342" sldId="359"/>
            <ac:graphicFrameMk id="6" creationId="{00000000-0000-0000-0000-000000000000}"/>
          </ac:graphicFrameMkLst>
        </pc:graphicFrameChg>
      </pc:sldChg>
      <pc:sldChg chg="modSp">
        <pc:chgData name="Simon Gurevich" userId="87fdd597-9ec7-4e43-9066-c30e4b4be151" providerId="ADAL" clId="{D75CF693-DE2C-4851-AB42-FA2C4A15977F}" dt="2018-01-10T04:08:22.758" v="115" actId="1035"/>
        <pc:sldMkLst>
          <pc:docMk/>
          <pc:sldMk cId="496125525" sldId="361"/>
        </pc:sldMkLst>
        <pc:spChg chg="mod">
          <ac:chgData name="Simon Gurevich" userId="87fdd597-9ec7-4e43-9066-c30e4b4be151" providerId="ADAL" clId="{D75CF693-DE2C-4851-AB42-FA2C4A15977F}" dt="2018-01-10T04:08:13.204" v="106" actId="1035"/>
          <ac:spMkLst>
            <pc:docMk/>
            <pc:sldMk cId="496125525" sldId="361"/>
            <ac:spMk id="7" creationId="{00000000-0000-0000-0000-000000000000}"/>
          </ac:spMkLst>
        </pc:spChg>
        <pc:spChg chg="mod">
          <ac:chgData name="Simon Gurevich" userId="87fdd597-9ec7-4e43-9066-c30e4b4be151" providerId="ADAL" clId="{D75CF693-DE2C-4851-AB42-FA2C4A15977F}" dt="2018-01-10T04:08:22.758" v="115" actId="1035"/>
          <ac:spMkLst>
            <pc:docMk/>
            <pc:sldMk cId="496125525" sldId="361"/>
            <ac:spMk id="8" creationId="{00000000-0000-0000-0000-000000000000}"/>
          </ac:spMkLst>
        </pc:spChg>
      </pc:sldChg>
      <pc:sldChg chg="modSp">
        <pc:chgData name="Simon Gurevich" userId="87fdd597-9ec7-4e43-9066-c30e4b4be151" providerId="ADAL" clId="{D75CF693-DE2C-4851-AB42-FA2C4A15977F}" dt="2018-01-04T05:11:41.714" v="36" actId="20577"/>
        <pc:sldMkLst>
          <pc:docMk/>
          <pc:sldMk cId="2419398205" sldId="366"/>
        </pc:sldMkLst>
        <pc:graphicFrameChg chg="mod modGraphic">
          <ac:chgData name="Simon Gurevich" userId="87fdd597-9ec7-4e43-9066-c30e4b4be151" providerId="ADAL" clId="{D75CF693-DE2C-4851-AB42-FA2C4A15977F}" dt="2018-01-04T05:11:41.714" v="36" actId="20577"/>
          <ac:graphicFrameMkLst>
            <pc:docMk/>
            <pc:sldMk cId="2419398205" sldId="366"/>
            <ac:graphicFrameMk id="6" creationId="{00000000-0000-0000-0000-000000000000}"/>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E7129F-03FA-45DE-9427-FEB1CEC6E8B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4222003-59AF-43B7-B094-4435BB80DD16}">
      <dgm:prSet phldrT="[Text]" custT="1"/>
      <dgm:spPr/>
      <dgm:t>
        <a:bodyPr/>
        <a:lstStyle/>
        <a:p>
          <a:r>
            <a:rPr lang="en-US" sz="2400" b="0"/>
            <a:t>Connectivity and basic management</a:t>
          </a:r>
        </a:p>
      </dgm:t>
    </dgm:pt>
    <dgm:pt modelId="{78FA9692-A89B-4F3D-BC7C-EEC648523BF7}" type="parTrans" cxnId="{2C9E8229-358E-4BC5-816E-0913CCF68FE3}">
      <dgm:prSet/>
      <dgm:spPr/>
      <dgm:t>
        <a:bodyPr/>
        <a:lstStyle/>
        <a:p>
          <a:endParaRPr lang="en-US"/>
        </a:p>
      </dgm:t>
    </dgm:pt>
    <dgm:pt modelId="{B675CB17-126E-4524-AA78-AA5A0137E9C5}" type="sibTrans" cxnId="{2C9E8229-358E-4BC5-816E-0913CCF68FE3}">
      <dgm:prSet/>
      <dgm:spPr/>
      <dgm:t>
        <a:bodyPr/>
        <a:lstStyle/>
        <a:p>
          <a:endParaRPr lang="en-US"/>
        </a:p>
      </dgm:t>
    </dgm:pt>
    <dgm:pt modelId="{F6A57A61-799D-405F-A6F2-895C83D329B8}">
      <dgm:prSet phldrT="[Text]" custT="1"/>
      <dgm:spPr/>
      <dgm:t>
        <a:bodyPr/>
        <a:lstStyle/>
        <a:p>
          <a:r>
            <a:rPr lang="en-US" sz="2400" b="0"/>
            <a:t>Deployment and configuration management</a:t>
          </a:r>
        </a:p>
      </dgm:t>
    </dgm:pt>
    <dgm:pt modelId="{834E7AA7-25DB-47B8-816B-AAB7FA48E53B}" type="parTrans" cxnId="{0D65D675-84C9-443F-ADB5-B5FBC0CA9BB9}">
      <dgm:prSet/>
      <dgm:spPr/>
      <dgm:t>
        <a:bodyPr/>
        <a:lstStyle/>
        <a:p>
          <a:endParaRPr lang="en-US"/>
        </a:p>
      </dgm:t>
    </dgm:pt>
    <dgm:pt modelId="{7E0100F6-F00E-45B3-9EC2-FE78B7B9E80C}" type="sibTrans" cxnId="{0D65D675-84C9-443F-ADB5-B5FBC0CA9BB9}">
      <dgm:prSet/>
      <dgm:spPr/>
      <dgm:t>
        <a:bodyPr/>
        <a:lstStyle/>
        <a:p>
          <a:endParaRPr lang="en-US"/>
        </a:p>
      </dgm:t>
    </dgm:pt>
    <dgm:pt modelId="{39B436D5-178D-46EA-A370-AA112881EF72}">
      <dgm:prSet phldrT="[Text]" custT="1"/>
      <dgm:spPr/>
      <dgm:t>
        <a:bodyPr/>
        <a:lstStyle/>
        <a:p>
          <a:r>
            <a:rPr lang="en-US" sz="2400" b="0"/>
            <a:t>Security and protection</a:t>
          </a:r>
        </a:p>
      </dgm:t>
    </dgm:pt>
    <dgm:pt modelId="{60B4A4A5-AFC0-439A-9760-191D8DF42D91}" type="parTrans" cxnId="{79A883DE-2302-452C-9E32-40CE8301FD76}">
      <dgm:prSet/>
      <dgm:spPr/>
      <dgm:t>
        <a:bodyPr/>
        <a:lstStyle/>
        <a:p>
          <a:endParaRPr lang="en-US"/>
        </a:p>
      </dgm:t>
    </dgm:pt>
    <dgm:pt modelId="{0DC4C445-77A9-4674-B30F-964D11C733E7}" type="sibTrans" cxnId="{79A883DE-2302-452C-9E32-40CE8301FD76}">
      <dgm:prSet/>
      <dgm:spPr/>
      <dgm:t>
        <a:bodyPr/>
        <a:lstStyle/>
        <a:p>
          <a:endParaRPr lang="en-US"/>
        </a:p>
      </dgm:t>
    </dgm:pt>
    <dgm:pt modelId="{1CE33463-D050-40C0-8469-4642C2DDE262}">
      <dgm:prSet phldrT="[Text]" custT="1"/>
      <dgm:spPr/>
      <dgm:t>
        <a:bodyPr/>
        <a:lstStyle/>
        <a:p>
          <a:r>
            <a:rPr lang="en-US" sz="2400" b="0"/>
            <a:t>VM operations and management</a:t>
          </a:r>
        </a:p>
      </dgm:t>
    </dgm:pt>
    <dgm:pt modelId="{66046D2B-2E64-4105-877F-AA5092A5F761}" type="parTrans" cxnId="{DD2408EB-780E-424B-A383-35BA0A1C61B4}">
      <dgm:prSet/>
      <dgm:spPr/>
      <dgm:t>
        <a:bodyPr/>
        <a:lstStyle/>
        <a:p>
          <a:endParaRPr lang="en-US"/>
        </a:p>
      </dgm:t>
    </dgm:pt>
    <dgm:pt modelId="{3AA982FF-30B5-4ED6-A7B1-68D5D8047F63}" type="sibTrans" cxnId="{DD2408EB-780E-424B-A383-35BA0A1C61B4}">
      <dgm:prSet/>
      <dgm:spPr/>
      <dgm:t>
        <a:bodyPr/>
        <a:lstStyle/>
        <a:p>
          <a:endParaRPr lang="en-US"/>
        </a:p>
      </dgm:t>
    </dgm:pt>
    <dgm:pt modelId="{9E5A9AEE-2DD4-4C08-8F45-E4A4933366A5}" type="pres">
      <dgm:prSet presAssocID="{32E7129F-03FA-45DE-9427-FEB1CEC6E8B2}" presName="diagram" presStyleCnt="0">
        <dgm:presLayoutVars>
          <dgm:dir/>
          <dgm:resizeHandles val="exact"/>
        </dgm:presLayoutVars>
      </dgm:prSet>
      <dgm:spPr/>
    </dgm:pt>
    <dgm:pt modelId="{FB148278-76AE-4CC0-B435-D57CD6F67B67}" type="pres">
      <dgm:prSet presAssocID="{D4222003-59AF-43B7-B094-4435BB80DD16}" presName="node" presStyleLbl="node1" presStyleIdx="0" presStyleCnt="4">
        <dgm:presLayoutVars>
          <dgm:bulletEnabled val="1"/>
        </dgm:presLayoutVars>
      </dgm:prSet>
      <dgm:spPr/>
    </dgm:pt>
    <dgm:pt modelId="{6C953315-2A8B-4E14-BA1C-CC7C22EE56FE}" type="pres">
      <dgm:prSet presAssocID="{B675CB17-126E-4524-AA78-AA5A0137E9C5}" presName="sibTrans" presStyleCnt="0"/>
      <dgm:spPr/>
    </dgm:pt>
    <dgm:pt modelId="{7E2B0E36-7A26-4E95-9AB8-2FACAD75F144}" type="pres">
      <dgm:prSet presAssocID="{F6A57A61-799D-405F-A6F2-895C83D329B8}" presName="node" presStyleLbl="node1" presStyleIdx="1" presStyleCnt="4">
        <dgm:presLayoutVars>
          <dgm:bulletEnabled val="1"/>
        </dgm:presLayoutVars>
      </dgm:prSet>
      <dgm:spPr/>
    </dgm:pt>
    <dgm:pt modelId="{AF94E0CE-267C-4E48-95F3-C4404B0D261E}" type="pres">
      <dgm:prSet presAssocID="{7E0100F6-F00E-45B3-9EC2-FE78B7B9E80C}" presName="sibTrans" presStyleCnt="0"/>
      <dgm:spPr/>
    </dgm:pt>
    <dgm:pt modelId="{749C5371-7439-4224-8E3B-DDBA1962E7BC}" type="pres">
      <dgm:prSet presAssocID="{39B436D5-178D-46EA-A370-AA112881EF72}" presName="node" presStyleLbl="node1" presStyleIdx="2" presStyleCnt="4" custLinFactNeighborX="1497" custLinFactNeighborY="-62">
        <dgm:presLayoutVars>
          <dgm:bulletEnabled val="1"/>
        </dgm:presLayoutVars>
      </dgm:prSet>
      <dgm:spPr/>
    </dgm:pt>
    <dgm:pt modelId="{5C9AC263-175D-4C78-80EA-33BFD15A6049}" type="pres">
      <dgm:prSet presAssocID="{0DC4C445-77A9-4674-B30F-964D11C733E7}" presName="sibTrans" presStyleCnt="0"/>
      <dgm:spPr/>
    </dgm:pt>
    <dgm:pt modelId="{018490D3-1E6A-4297-881C-1ADF4276B8D8}" type="pres">
      <dgm:prSet presAssocID="{1CE33463-D050-40C0-8469-4642C2DDE262}" presName="node" presStyleLbl="node1" presStyleIdx="3" presStyleCnt="4">
        <dgm:presLayoutVars>
          <dgm:bulletEnabled val="1"/>
        </dgm:presLayoutVars>
      </dgm:prSet>
      <dgm:spPr/>
    </dgm:pt>
  </dgm:ptLst>
  <dgm:cxnLst>
    <dgm:cxn modelId="{E3CDF007-C9EE-4DB0-9D92-7EFEA052D82C}" type="presOf" srcId="{D4222003-59AF-43B7-B094-4435BB80DD16}" destId="{FB148278-76AE-4CC0-B435-D57CD6F67B67}" srcOrd="0" destOrd="0" presId="urn:microsoft.com/office/officeart/2005/8/layout/default"/>
    <dgm:cxn modelId="{2C9E8229-358E-4BC5-816E-0913CCF68FE3}" srcId="{32E7129F-03FA-45DE-9427-FEB1CEC6E8B2}" destId="{D4222003-59AF-43B7-B094-4435BB80DD16}" srcOrd="0" destOrd="0" parTransId="{78FA9692-A89B-4F3D-BC7C-EEC648523BF7}" sibTransId="{B675CB17-126E-4524-AA78-AA5A0137E9C5}"/>
    <dgm:cxn modelId="{2DA6AF69-CF3E-49FF-BA2D-0D53F600E302}" type="presOf" srcId="{39B436D5-178D-46EA-A370-AA112881EF72}" destId="{749C5371-7439-4224-8E3B-DDBA1962E7BC}" srcOrd="0" destOrd="0" presId="urn:microsoft.com/office/officeart/2005/8/layout/default"/>
    <dgm:cxn modelId="{7468D06D-734F-4A85-B7BB-4F2976459122}" type="presOf" srcId="{F6A57A61-799D-405F-A6F2-895C83D329B8}" destId="{7E2B0E36-7A26-4E95-9AB8-2FACAD75F144}" srcOrd="0" destOrd="0" presId="urn:microsoft.com/office/officeart/2005/8/layout/default"/>
    <dgm:cxn modelId="{0D65D675-84C9-443F-ADB5-B5FBC0CA9BB9}" srcId="{32E7129F-03FA-45DE-9427-FEB1CEC6E8B2}" destId="{F6A57A61-799D-405F-A6F2-895C83D329B8}" srcOrd="1" destOrd="0" parTransId="{834E7AA7-25DB-47B8-816B-AAB7FA48E53B}" sibTransId="{7E0100F6-F00E-45B3-9EC2-FE78B7B9E80C}"/>
    <dgm:cxn modelId="{6982EAC6-09FE-466F-872D-B4D06899C107}" type="presOf" srcId="{1CE33463-D050-40C0-8469-4642C2DDE262}" destId="{018490D3-1E6A-4297-881C-1ADF4276B8D8}" srcOrd="0" destOrd="0" presId="urn:microsoft.com/office/officeart/2005/8/layout/default"/>
    <dgm:cxn modelId="{67B66DD5-9EA6-4F9F-9AD5-4CA712031B8F}" type="presOf" srcId="{32E7129F-03FA-45DE-9427-FEB1CEC6E8B2}" destId="{9E5A9AEE-2DD4-4C08-8F45-E4A4933366A5}" srcOrd="0" destOrd="0" presId="urn:microsoft.com/office/officeart/2005/8/layout/default"/>
    <dgm:cxn modelId="{79A883DE-2302-452C-9E32-40CE8301FD76}" srcId="{32E7129F-03FA-45DE-9427-FEB1CEC6E8B2}" destId="{39B436D5-178D-46EA-A370-AA112881EF72}" srcOrd="2" destOrd="0" parTransId="{60B4A4A5-AFC0-439A-9760-191D8DF42D91}" sibTransId="{0DC4C445-77A9-4674-B30F-964D11C733E7}"/>
    <dgm:cxn modelId="{DD2408EB-780E-424B-A383-35BA0A1C61B4}" srcId="{32E7129F-03FA-45DE-9427-FEB1CEC6E8B2}" destId="{1CE33463-D050-40C0-8469-4642C2DDE262}" srcOrd="3" destOrd="0" parTransId="{66046D2B-2E64-4105-877F-AA5092A5F761}" sibTransId="{3AA982FF-30B5-4ED6-A7B1-68D5D8047F63}"/>
    <dgm:cxn modelId="{5B4D323E-0F8A-483B-85B2-A4F30214ABA5}" type="presParOf" srcId="{9E5A9AEE-2DD4-4C08-8F45-E4A4933366A5}" destId="{FB148278-76AE-4CC0-B435-D57CD6F67B67}" srcOrd="0" destOrd="0" presId="urn:microsoft.com/office/officeart/2005/8/layout/default"/>
    <dgm:cxn modelId="{FC520C55-5E77-4D17-877B-F827F5FD8E69}" type="presParOf" srcId="{9E5A9AEE-2DD4-4C08-8F45-E4A4933366A5}" destId="{6C953315-2A8B-4E14-BA1C-CC7C22EE56FE}" srcOrd="1" destOrd="0" presId="urn:microsoft.com/office/officeart/2005/8/layout/default"/>
    <dgm:cxn modelId="{C9D40284-A416-4E2B-A745-B8347CEBAAB1}" type="presParOf" srcId="{9E5A9AEE-2DD4-4C08-8F45-E4A4933366A5}" destId="{7E2B0E36-7A26-4E95-9AB8-2FACAD75F144}" srcOrd="2" destOrd="0" presId="urn:microsoft.com/office/officeart/2005/8/layout/default"/>
    <dgm:cxn modelId="{F2A3D551-B604-4B7B-8A7B-54723EF8BF84}" type="presParOf" srcId="{9E5A9AEE-2DD4-4C08-8F45-E4A4933366A5}" destId="{AF94E0CE-267C-4E48-95F3-C4404B0D261E}" srcOrd="3" destOrd="0" presId="urn:microsoft.com/office/officeart/2005/8/layout/default"/>
    <dgm:cxn modelId="{E8C7F4BB-72AC-478A-B668-A7043ED1710A}" type="presParOf" srcId="{9E5A9AEE-2DD4-4C08-8F45-E4A4933366A5}" destId="{749C5371-7439-4224-8E3B-DDBA1962E7BC}" srcOrd="4" destOrd="0" presId="urn:microsoft.com/office/officeart/2005/8/layout/default"/>
    <dgm:cxn modelId="{5CF0B937-D952-4D61-BB29-FEB43E791C66}" type="presParOf" srcId="{9E5A9AEE-2DD4-4C08-8F45-E4A4933366A5}" destId="{5C9AC263-175D-4C78-80EA-33BFD15A6049}" srcOrd="5" destOrd="0" presId="urn:microsoft.com/office/officeart/2005/8/layout/default"/>
    <dgm:cxn modelId="{B84B924A-7253-4019-AAF9-8CA7C108AAFE}" type="presParOf" srcId="{9E5A9AEE-2DD4-4C08-8F45-E4A4933366A5}" destId="{018490D3-1E6A-4297-881C-1ADF4276B8D8}"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BCAE28C-8CBD-4494-AAF8-CB8477C29BFF}" type="doc">
      <dgm:prSet loTypeId="urn:microsoft.com/office/officeart/2008/layout/VerticalCurvedList" loCatId="list" qsTypeId="urn:microsoft.com/office/officeart/2005/8/quickstyle/3d6" qsCatId="3D" csTypeId="urn:microsoft.com/office/officeart/2005/8/colors/colorful5" csCatId="colorful" phldr="1"/>
      <dgm:spPr/>
      <dgm:t>
        <a:bodyPr/>
        <a:lstStyle/>
        <a:p>
          <a:endParaRPr lang="en-US"/>
        </a:p>
      </dgm:t>
    </dgm:pt>
    <dgm:pt modelId="{2EA3D901-EA72-4903-9A1C-C0F417940618}">
      <dgm:prSet phldrT="[Text]"/>
      <dgm:spPr/>
      <dgm:t>
        <a:bodyPr/>
        <a:lstStyle/>
        <a:p>
          <a:r>
            <a:rPr lang="en-US" dirty="0"/>
            <a:t>General Purpose</a:t>
          </a:r>
        </a:p>
      </dgm:t>
    </dgm:pt>
    <dgm:pt modelId="{53E4735B-E965-490F-A079-295083922457}" type="parTrans" cxnId="{CBA557AA-6E93-428D-8CCE-71E35C995D07}">
      <dgm:prSet/>
      <dgm:spPr/>
      <dgm:t>
        <a:bodyPr/>
        <a:lstStyle/>
        <a:p>
          <a:endParaRPr lang="en-US"/>
        </a:p>
      </dgm:t>
    </dgm:pt>
    <dgm:pt modelId="{67096BEA-3035-4483-9019-42DB68E3CD78}" type="sibTrans" cxnId="{CBA557AA-6E93-428D-8CCE-71E35C995D07}">
      <dgm:prSet/>
      <dgm:spPr/>
      <dgm:t>
        <a:bodyPr/>
        <a:lstStyle/>
        <a:p>
          <a:endParaRPr lang="en-US"/>
        </a:p>
      </dgm:t>
    </dgm:pt>
    <dgm:pt modelId="{C9984CD7-E769-4DF3-A6C7-E90E472C97F9}">
      <dgm:prSet phldrT="[Text]"/>
      <dgm:spPr/>
      <dgm:t>
        <a:bodyPr/>
        <a:lstStyle/>
        <a:p>
          <a:r>
            <a:rPr lang="en-US" dirty="0"/>
            <a:t>Compute Optimized</a:t>
          </a:r>
        </a:p>
      </dgm:t>
    </dgm:pt>
    <dgm:pt modelId="{F1B3B824-4222-463F-A3FA-E6AD2953935F}" type="parTrans" cxnId="{236C38CA-EB8E-4AFF-87FE-831A320EF6B6}">
      <dgm:prSet/>
      <dgm:spPr/>
      <dgm:t>
        <a:bodyPr/>
        <a:lstStyle/>
        <a:p>
          <a:endParaRPr lang="en-US"/>
        </a:p>
      </dgm:t>
    </dgm:pt>
    <dgm:pt modelId="{ACC00F96-85BA-4A86-BBFE-19BC5A3279EA}" type="sibTrans" cxnId="{236C38CA-EB8E-4AFF-87FE-831A320EF6B6}">
      <dgm:prSet/>
      <dgm:spPr/>
      <dgm:t>
        <a:bodyPr/>
        <a:lstStyle/>
        <a:p>
          <a:endParaRPr lang="en-US"/>
        </a:p>
      </dgm:t>
    </dgm:pt>
    <dgm:pt modelId="{57E40272-ADC9-48D1-9185-1BF9B642102B}">
      <dgm:prSet phldrT="[Text]"/>
      <dgm:spPr/>
      <dgm:t>
        <a:bodyPr/>
        <a:lstStyle/>
        <a:p>
          <a:r>
            <a:rPr lang="en-US" dirty="0"/>
            <a:t>Memory Optimized</a:t>
          </a:r>
        </a:p>
      </dgm:t>
    </dgm:pt>
    <dgm:pt modelId="{575378C1-C8F6-4951-ABAA-F827AC66E226}" type="parTrans" cxnId="{E5865ABE-FAC3-4C31-8759-8C9A84DCD43B}">
      <dgm:prSet/>
      <dgm:spPr/>
      <dgm:t>
        <a:bodyPr/>
        <a:lstStyle/>
        <a:p>
          <a:endParaRPr lang="en-US"/>
        </a:p>
      </dgm:t>
    </dgm:pt>
    <dgm:pt modelId="{793EDDAB-3DA9-4EDB-9521-FAE20EE394B7}" type="sibTrans" cxnId="{E5865ABE-FAC3-4C31-8759-8C9A84DCD43B}">
      <dgm:prSet/>
      <dgm:spPr/>
      <dgm:t>
        <a:bodyPr/>
        <a:lstStyle/>
        <a:p>
          <a:endParaRPr lang="en-US"/>
        </a:p>
      </dgm:t>
    </dgm:pt>
    <dgm:pt modelId="{A15FA7DC-75A2-4132-8844-3C838EF36837}">
      <dgm:prSet phldrT="[Text]"/>
      <dgm:spPr/>
      <dgm:t>
        <a:bodyPr/>
        <a:lstStyle/>
        <a:p>
          <a:r>
            <a:rPr lang="en-US" dirty="0"/>
            <a:t>Storage Optimized</a:t>
          </a:r>
        </a:p>
      </dgm:t>
    </dgm:pt>
    <dgm:pt modelId="{2BA64B38-2E10-45C6-B6D1-862C5030F692}" type="parTrans" cxnId="{3F8FCD48-865C-4566-87E7-7CD74FBEB595}">
      <dgm:prSet/>
      <dgm:spPr/>
      <dgm:t>
        <a:bodyPr/>
        <a:lstStyle/>
        <a:p>
          <a:endParaRPr lang="en-US"/>
        </a:p>
      </dgm:t>
    </dgm:pt>
    <dgm:pt modelId="{31A25136-7823-4491-BC10-7D6304C70890}" type="sibTrans" cxnId="{3F8FCD48-865C-4566-87E7-7CD74FBEB595}">
      <dgm:prSet/>
      <dgm:spPr/>
      <dgm:t>
        <a:bodyPr/>
        <a:lstStyle/>
        <a:p>
          <a:endParaRPr lang="en-US"/>
        </a:p>
      </dgm:t>
    </dgm:pt>
    <dgm:pt modelId="{CA32670A-5EF4-47F7-B91A-6E9CF9B7347E}">
      <dgm:prSet phldrT="[Text]"/>
      <dgm:spPr/>
      <dgm:t>
        <a:bodyPr/>
        <a:lstStyle/>
        <a:p>
          <a:r>
            <a:rPr lang="en-US" dirty="0"/>
            <a:t>GPU</a:t>
          </a:r>
        </a:p>
      </dgm:t>
    </dgm:pt>
    <dgm:pt modelId="{84289027-2D6F-458A-953A-028E213D8CB3}" type="parTrans" cxnId="{61DCBA5C-0808-4FE5-9AAF-3E45AE204C80}">
      <dgm:prSet/>
      <dgm:spPr/>
      <dgm:t>
        <a:bodyPr/>
        <a:lstStyle/>
        <a:p>
          <a:endParaRPr lang="en-US"/>
        </a:p>
      </dgm:t>
    </dgm:pt>
    <dgm:pt modelId="{5A096272-8343-4536-B535-A87EDDB98808}" type="sibTrans" cxnId="{61DCBA5C-0808-4FE5-9AAF-3E45AE204C80}">
      <dgm:prSet/>
      <dgm:spPr/>
      <dgm:t>
        <a:bodyPr/>
        <a:lstStyle/>
        <a:p>
          <a:endParaRPr lang="en-US"/>
        </a:p>
      </dgm:t>
    </dgm:pt>
    <dgm:pt modelId="{610AF4B6-82F7-4216-A007-AF68DAD75858}">
      <dgm:prSet phldrT="[Text]"/>
      <dgm:spPr/>
      <dgm:t>
        <a:bodyPr/>
        <a:lstStyle/>
        <a:p>
          <a:r>
            <a:rPr lang="en-US" dirty="0"/>
            <a:t>High Performance Compute </a:t>
          </a:r>
        </a:p>
      </dgm:t>
    </dgm:pt>
    <dgm:pt modelId="{25895589-F49E-4DCA-8BFB-9B5FAE69D95B}" type="parTrans" cxnId="{117F4064-187E-4DA8-BEB0-2DD862A8D7B5}">
      <dgm:prSet/>
      <dgm:spPr/>
      <dgm:t>
        <a:bodyPr/>
        <a:lstStyle/>
        <a:p>
          <a:endParaRPr lang="en-US"/>
        </a:p>
      </dgm:t>
    </dgm:pt>
    <dgm:pt modelId="{54ABB4C7-3096-4963-ACDB-21278AA8E936}" type="sibTrans" cxnId="{117F4064-187E-4DA8-BEB0-2DD862A8D7B5}">
      <dgm:prSet/>
      <dgm:spPr/>
      <dgm:t>
        <a:bodyPr/>
        <a:lstStyle/>
        <a:p>
          <a:endParaRPr lang="en-US"/>
        </a:p>
      </dgm:t>
    </dgm:pt>
    <dgm:pt modelId="{5763F186-2397-4E27-BD0E-1F9F1AA0616C}" type="pres">
      <dgm:prSet presAssocID="{9BCAE28C-8CBD-4494-AAF8-CB8477C29BFF}" presName="Name0" presStyleCnt="0">
        <dgm:presLayoutVars>
          <dgm:chMax val="7"/>
          <dgm:chPref val="7"/>
          <dgm:dir/>
        </dgm:presLayoutVars>
      </dgm:prSet>
      <dgm:spPr/>
    </dgm:pt>
    <dgm:pt modelId="{A1B1ECF9-1054-4A8B-8984-14A31FF72E6F}" type="pres">
      <dgm:prSet presAssocID="{9BCAE28C-8CBD-4494-AAF8-CB8477C29BFF}" presName="Name1" presStyleCnt="0"/>
      <dgm:spPr/>
    </dgm:pt>
    <dgm:pt modelId="{8D89E375-7D3A-4E6A-AA5A-5E993CF0FFAB}" type="pres">
      <dgm:prSet presAssocID="{9BCAE28C-8CBD-4494-AAF8-CB8477C29BFF}" presName="cycle" presStyleCnt="0"/>
      <dgm:spPr/>
    </dgm:pt>
    <dgm:pt modelId="{45B4FCAA-0AB5-4E22-AB85-5590669730F8}" type="pres">
      <dgm:prSet presAssocID="{9BCAE28C-8CBD-4494-AAF8-CB8477C29BFF}" presName="srcNode" presStyleLbl="node1" presStyleIdx="0" presStyleCnt="6"/>
      <dgm:spPr/>
    </dgm:pt>
    <dgm:pt modelId="{95B5901B-133B-451C-9727-A4C9ABB64192}" type="pres">
      <dgm:prSet presAssocID="{9BCAE28C-8CBD-4494-AAF8-CB8477C29BFF}" presName="conn" presStyleLbl="parChTrans1D2" presStyleIdx="0" presStyleCnt="1"/>
      <dgm:spPr/>
    </dgm:pt>
    <dgm:pt modelId="{54F78980-271A-4305-8185-94C8ED2F2862}" type="pres">
      <dgm:prSet presAssocID="{9BCAE28C-8CBD-4494-AAF8-CB8477C29BFF}" presName="extraNode" presStyleLbl="node1" presStyleIdx="0" presStyleCnt="6"/>
      <dgm:spPr/>
    </dgm:pt>
    <dgm:pt modelId="{1D61E595-426D-4D84-B3E7-95FB5A4E1436}" type="pres">
      <dgm:prSet presAssocID="{9BCAE28C-8CBD-4494-AAF8-CB8477C29BFF}" presName="dstNode" presStyleLbl="node1" presStyleIdx="0" presStyleCnt="6"/>
      <dgm:spPr/>
    </dgm:pt>
    <dgm:pt modelId="{0D6847B1-052F-400F-9949-9B294FB77328}" type="pres">
      <dgm:prSet presAssocID="{2EA3D901-EA72-4903-9A1C-C0F417940618}" presName="text_1" presStyleLbl="node1" presStyleIdx="0" presStyleCnt="6">
        <dgm:presLayoutVars>
          <dgm:bulletEnabled val="1"/>
        </dgm:presLayoutVars>
      </dgm:prSet>
      <dgm:spPr/>
    </dgm:pt>
    <dgm:pt modelId="{283ACD00-F024-4D0C-8D8B-EE58B6393281}" type="pres">
      <dgm:prSet presAssocID="{2EA3D901-EA72-4903-9A1C-C0F417940618}" presName="accent_1" presStyleCnt="0"/>
      <dgm:spPr/>
    </dgm:pt>
    <dgm:pt modelId="{8D71C7AD-CDF5-4159-B1C4-3267C854FEA2}" type="pres">
      <dgm:prSet presAssocID="{2EA3D901-EA72-4903-9A1C-C0F417940618}" presName="accentRepeatNode" presStyleLbl="solidFgAcc1" presStyleIdx="0" presStyleCnt="6"/>
      <dgm:spPr/>
    </dgm:pt>
    <dgm:pt modelId="{7F3FFC2D-E458-4187-9F4B-D16453E97210}" type="pres">
      <dgm:prSet presAssocID="{C9984CD7-E769-4DF3-A6C7-E90E472C97F9}" presName="text_2" presStyleLbl="node1" presStyleIdx="1" presStyleCnt="6">
        <dgm:presLayoutVars>
          <dgm:bulletEnabled val="1"/>
        </dgm:presLayoutVars>
      </dgm:prSet>
      <dgm:spPr/>
    </dgm:pt>
    <dgm:pt modelId="{503D494C-6938-451C-A2FC-072DB447EC3B}" type="pres">
      <dgm:prSet presAssocID="{C9984CD7-E769-4DF3-A6C7-E90E472C97F9}" presName="accent_2" presStyleCnt="0"/>
      <dgm:spPr/>
    </dgm:pt>
    <dgm:pt modelId="{6C9E2756-E42C-4269-AEE8-FB6D61F5F452}" type="pres">
      <dgm:prSet presAssocID="{C9984CD7-E769-4DF3-A6C7-E90E472C97F9}" presName="accentRepeatNode" presStyleLbl="solidFgAcc1" presStyleIdx="1" presStyleCnt="6"/>
      <dgm:spPr/>
    </dgm:pt>
    <dgm:pt modelId="{D3633B5F-F65D-4125-BF62-E288B8BAC066}" type="pres">
      <dgm:prSet presAssocID="{57E40272-ADC9-48D1-9185-1BF9B642102B}" presName="text_3" presStyleLbl="node1" presStyleIdx="2" presStyleCnt="6">
        <dgm:presLayoutVars>
          <dgm:bulletEnabled val="1"/>
        </dgm:presLayoutVars>
      </dgm:prSet>
      <dgm:spPr/>
    </dgm:pt>
    <dgm:pt modelId="{C50A266B-2E0F-46F4-B74F-471E25536DE6}" type="pres">
      <dgm:prSet presAssocID="{57E40272-ADC9-48D1-9185-1BF9B642102B}" presName="accent_3" presStyleCnt="0"/>
      <dgm:spPr/>
    </dgm:pt>
    <dgm:pt modelId="{CB1716DE-D4DA-4725-B8FE-BDE14F63BFB5}" type="pres">
      <dgm:prSet presAssocID="{57E40272-ADC9-48D1-9185-1BF9B642102B}" presName="accentRepeatNode" presStyleLbl="solidFgAcc1" presStyleIdx="2" presStyleCnt="6"/>
      <dgm:spPr/>
    </dgm:pt>
    <dgm:pt modelId="{3CA88B6D-4A05-4AC9-803E-E81629862958}" type="pres">
      <dgm:prSet presAssocID="{A15FA7DC-75A2-4132-8844-3C838EF36837}" presName="text_4" presStyleLbl="node1" presStyleIdx="3" presStyleCnt="6">
        <dgm:presLayoutVars>
          <dgm:bulletEnabled val="1"/>
        </dgm:presLayoutVars>
      </dgm:prSet>
      <dgm:spPr/>
    </dgm:pt>
    <dgm:pt modelId="{1C9C4E6E-B75D-476D-B81E-FBE50B40804E}" type="pres">
      <dgm:prSet presAssocID="{A15FA7DC-75A2-4132-8844-3C838EF36837}" presName="accent_4" presStyleCnt="0"/>
      <dgm:spPr/>
    </dgm:pt>
    <dgm:pt modelId="{42B50AA0-4063-4130-90E7-8AC1DA2207C2}" type="pres">
      <dgm:prSet presAssocID="{A15FA7DC-75A2-4132-8844-3C838EF36837}" presName="accentRepeatNode" presStyleLbl="solidFgAcc1" presStyleIdx="3" presStyleCnt="6"/>
      <dgm:spPr/>
    </dgm:pt>
    <dgm:pt modelId="{2D97F427-A168-45EE-BBF1-B29EB0EB7690}" type="pres">
      <dgm:prSet presAssocID="{CA32670A-5EF4-47F7-B91A-6E9CF9B7347E}" presName="text_5" presStyleLbl="node1" presStyleIdx="4" presStyleCnt="6">
        <dgm:presLayoutVars>
          <dgm:bulletEnabled val="1"/>
        </dgm:presLayoutVars>
      </dgm:prSet>
      <dgm:spPr/>
    </dgm:pt>
    <dgm:pt modelId="{4B2991AB-EA5F-4105-A270-8AC9505442F3}" type="pres">
      <dgm:prSet presAssocID="{CA32670A-5EF4-47F7-B91A-6E9CF9B7347E}" presName="accent_5" presStyleCnt="0"/>
      <dgm:spPr/>
    </dgm:pt>
    <dgm:pt modelId="{398FD6C1-79CB-45B8-A0C6-86469819DE13}" type="pres">
      <dgm:prSet presAssocID="{CA32670A-5EF4-47F7-B91A-6E9CF9B7347E}" presName="accentRepeatNode" presStyleLbl="solidFgAcc1" presStyleIdx="4" presStyleCnt="6"/>
      <dgm:spPr/>
    </dgm:pt>
    <dgm:pt modelId="{FD2ABE94-AF24-48DC-8D43-F883ECB98759}" type="pres">
      <dgm:prSet presAssocID="{610AF4B6-82F7-4216-A007-AF68DAD75858}" presName="text_6" presStyleLbl="node1" presStyleIdx="5" presStyleCnt="6">
        <dgm:presLayoutVars>
          <dgm:bulletEnabled val="1"/>
        </dgm:presLayoutVars>
      </dgm:prSet>
      <dgm:spPr/>
    </dgm:pt>
    <dgm:pt modelId="{4B314DD0-29F6-47F6-BCD6-D4CEF4255EAA}" type="pres">
      <dgm:prSet presAssocID="{610AF4B6-82F7-4216-A007-AF68DAD75858}" presName="accent_6" presStyleCnt="0"/>
      <dgm:spPr/>
    </dgm:pt>
    <dgm:pt modelId="{BEFF1E9A-92D1-4C5A-A536-FAEB7B3685F1}" type="pres">
      <dgm:prSet presAssocID="{610AF4B6-82F7-4216-A007-AF68DAD75858}" presName="accentRepeatNode" presStyleLbl="solidFgAcc1" presStyleIdx="5" presStyleCnt="6"/>
      <dgm:spPr/>
    </dgm:pt>
  </dgm:ptLst>
  <dgm:cxnLst>
    <dgm:cxn modelId="{B9A5D01D-D3DA-4964-9D37-04EE78E3AD25}" type="presOf" srcId="{CA32670A-5EF4-47F7-B91A-6E9CF9B7347E}" destId="{2D97F427-A168-45EE-BBF1-B29EB0EB7690}" srcOrd="0" destOrd="0" presId="urn:microsoft.com/office/officeart/2008/layout/VerticalCurvedList"/>
    <dgm:cxn modelId="{1EADA52A-3FB1-4051-AA0D-B7663D0DFE86}" type="presOf" srcId="{67096BEA-3035-4483-9019-42DB68E3CD78}" destId="{95B5901B-133B-451C-9727-A4C9ABB64192}" srcOrd="0" destOrd="0" presId="urn:microsoft.com/office/officeart/2008/layout/VerticalCurvedList"/>
    <dgm:cxn modelId="{61DCBA5C-0808-4FE5-9AAF-3E45AE204C80}" srcId="{9BCAE28C-8CBD-4494-AAF8-CB8477C29BFF}" destId="{CA32670A-5EF4-47F7-B91A-6E9CF9B7347E}" srcOrd="4" destOrd="0" parTransId="{84289027-2D6F-458A-953A-028E213D8CB3}" sibTransId="{5A096272-8343-4536-B535-A87EDDB98808}"/>
    <dgm:cxn modelId="{B860AD43-4F85-430C-BCF6-9A1B0E3A9A66}" type="presOf" srcId="{C9984CD7-E769-4DF3-A6C7-E90E472C97F9}" destId="{7F3FFC2D-E458-4187-9F4B-D16453E97210}" srcOrd="0" destOrd="0" presId="urn:microsoft.com/office/officeart/2008/layout/VerticalCurvedList"/>
    <dgm:cxn modelId="{117F4064-187E-4DA8-BEB0-2DD862A8D7B5}" srcId="{9BCAE28C-8CBD-4494-AAF8-CB8477C29BFF}" destId="{610AF4B6-82F7-4216-A007-AF68DAD75858}" srcOrd="5" destOrd="0" parTransId="{25895589-F49E-4DCA-8BFB-9B5FAE69D95B}" sibTransId="{54ABB4C7-3096-4963-ACDB-21278AA8E936}"/>
    <dgm:cxn modelId="{3F8FCD48-865C-4566-87E7-7CD74FBEB595}" srcId="{9BCAE28C-8CBD-4494-AAF8-CB8477C29BFF}" destId="{A15FA7DC-75A2-4132-8844-3C838EF36837}" srcOrd="3" destOrd="0" parTransId="{2BA64B38-2E10-45C6-B6D1-862C5030F692}" sibTransId="{31A25136-7823-4491-BC10-7D6304C70890}"/>
    <dgm:cxn modelId="{8C194949-F23E-40EA-9F22-38DB710EF8A2}" type="presOf" srcId="{A15FA7DC-75A2-4132-8844-3C838EF36837}" destId="{3CA88B6D-4A05-4AC9-803E-E81629862958}" srcOrd="0" destOrd="0" presId="urn:microsoft.com/office/officeart/2008/layout/VerticalCurvedList"/>
    <dgm:cxn modelId="{99BBF06D-3696-4890-92A4-1A78FBA4532D}" type="presOf" srcId="{57E40272-ADC9-48D1-9185-1BF9B642102B}" destId="{D3633B5F-F65D-4125-BF62-E288B8BAC066}" srcOrd="0" destOrd="0" presId="urn:microsoft.com/office/officeart/2008/layout/VerticalCurvedList"/>
    <dgm:cxn modelId="{8A83E153-3AB0-4876-A4B7-17CC02202608}" type="presOf" srcId="{9BCAE28C-8CBD-4494-AAF8-CB8477C29BFF}" destId="{5763F186-2397-4E27-BD0E-1F9F1AA0616C}" srcOrd="0" destOrd="0" presId="urn:microsoft.com/office/officeart/2008/layout/VerticalCurvedList"/>
    <dgm:cxn modelId="{0C80317D-2F35-4F16-87D3-ADF217AFC03F}" type="presOf" srcId="{610AF4B6-82F7-4216-A007-AF68DAD75858}" destId="{FD2ABE94-AF24-48DC-8D43-F883ECB98759}" srcOrd="0" destOrd="0" presId="urn:microsoft.com/office/officeart/2008/layout/VerticalCurvedList"/>
    <dgm:cxn modelId="{E6BCED97-B3CC-4E61-BA93-E68EADC7CACF}" type="presOf" srcId="{2EA3D901-EA72-4903-9A1C-C0F417940618}" destId="{0D6847B1-052F-400F-9949-9B294FB77328}" srcOrd="0" destOrd="0" presId="urn:microsoft.com/office/officeart/2008/layout/VerticalCurvedList"/>
    <dgm:cxn modelId="{CBA557AA-6E93-428D-8CCE-71E35C995D07}" srcId="{9BCAE28C-8CBD-4494-AAF8-CB8477C29BFF}" destId="{2EA3D901-EA72-4903-9A1C-C0F417940618}" srcOrd="0" destOrd="0" parTransId="{53E4735B-E965-490F-A079-295083922457}" sibTransId="{67096BEA-3035-4483-9019-42DB68E3CD78}"/>
    <dgm:cxn modelId="{E5865ABE-FAC3-4C31-8759-8C9A84DCD43B}" srcId="{9BCAE28C-8CBD-4494-AAF8-CB8477C29BFF}" destId="{57E40272-ADC9-48D1-9185-1BF9B642102B}" srcOrd="2" destOrd="0" parTransId="{575378C1-C8F6-4951-ABAA-F827AC66E226}" sibTransId="{793EDDAB-3DA9-4EDB-9521-FAE20EE394B7}"/>
    <dgm:cxn modelId="{236C38CA-EB8E-4AFF-87FE-831A320EF6B6}" srcId="{9BCAE28C-8CBD-4494-AAF8-CB8477C29BFF}" destId="{C9984CD7-E769-4DF3-A6C7-E90E472C97F9}" srcOrd="1" destOrd="0" parTransId="{F1B3B824-4222-463F-A3FA-E6AD2953935F}" sibTransId="{ACC00F96-85BA-4A86-BBFE-19BC5A3279EA}"/>
    <dgm:cxn modelId="{052B6793-CF5D-49B1-995E-89167FC3722E}" type="presParOf" srcId="{5763F186-2397-4E27-BD0E-1F9F1AA0616C}" destId="{A1B1ECF9-1054-4A8B-8984-14A31FF72E6F}" srcOrd="0" destOrd="0" presId="urn:microsoft.com/office/officeart/2008/layout/VerticalCurvedList"/>
    <dgm:cxn modelId="{D2B00CD1-CA23-4ECD-8392-AAE85798542F}" type="presParOf" srcId="{A1B1ECF9-1054-4A8B-8984-14A31FF72E6F}" destId="{8D89E375-7D3A-4E6A-AA5A-5E993CF0FFAB}" srcOrd="0" destOrd="0" presId="urn:microsoft.com/office/officeart/2008/layout/VerticalCurvedList"/>
    <dgm:cxn modelId="{EFD852F1-CAFB-4379-8251-362BD882C6F9}" type="presParOf" srcId="{8D89E375-7D3A-4E6A-AA5A-5E993CF0FFAB}" destId="{45B4FCAA-0AB5-4E22-AB85-5590669730F8}" srcOrd="0" destOrd="0" presId="urn:microsoft.com/office/officeart/2008/layout/VerticalCurvedList"/>
    <dgm:cxn modelId="{6EABEB28-B060-4559-A0FF-C98A7C813A02}" type="presParOf" srcId="{8D89E375-7D3A-4E6A-AA5A-5E993CF0FFAB}" destId="{95B5901B-133B-451C-9727-A4C9ABB64192}" srcOrd="1" destOrd="0" presId="urn:microsoft.com/office/officeart/2008/layout/VerticalCurvedList"/>
    <dgm:cxn modelId="{3A1A6764-25E6-4F9D-B0CE-0A7BB1048909}" type="presParOf" srcId="{8D89E375-7D3A-4E6A-AA5A-5E993CF0FFAB}" destId="{54F78980-271A-4305-8185-94C8ED2F2862}" srcOrd="2" destOrd="0" presId="urn:microsoft.com/office/officeart/2008/layout/VerticalCurvedList"/>
    <dgm:cxn modelId="{D8B8039F-1ECB-4E37-9500-D288ADF33579}" type="presParOf" srcId="{8D89E375-7D3A-4E6A-AA5A-5E993CF0FFAB}" destId="{1D61E595-426D-4D84-B3E7-95FB5A4E1436}" srcOrd="3" destOrd="0" presId="urn:microsoft.com/office/officeart/2008/layout/VerticalCurvedList"/>
    <dgm:cxn modelId="{00FC7D61-67B5-43FD-B2C7-3827C8377FD9}" type="presParOf" srcId="{A1B1ECF9-1054-4A8B-8984-14A31FF72E6F}" destId="{0D6847B1-052F-400F-9949-9B294FB77328}" srcOrd="1" destOrd="0" presId="urn:microsoft.com/office/officeart/2008/layout/VerticalCurvedList"/>
    <dgm:cxn modelId="{909FFC3F-6764-48BB-9121-75D4C392C3FF}" type="presParOf" srcId="{A1B1ECF9-1054-4A8B-8984-14A31FF72E6F}" destId="{283ACD00-F024-4D0C-8D8B-EE58B6393281}" srcOrd="2" destOrd="0" presId="urn:microsoft.com/office/officeart/2008/layout/VerticalCurvedList"/>
    <dgm:cxn modelId="{F4F72D0D-942E-4E74-8054-B5D1B1616A73}" type="presParOf" srcId="{283ACD00-F024-4D0C-8D8B-EE58B6393281}" destId="{8D71C7AD-CDF5-4159-B1C4-3267C854FEA2}" srcOrd="0" destOrd="0" presId="urn:microsoft.com/office/officeart/2008/layout/VerticalCurvedList"/>
    <dgm:cxn modelId="{229F3E7B-A10D-48EC-91E7-EB4F75AE0C20}" type="presParOf" srcId="{A1B1ECF9-1054-4A8B-8984-14A31FF72E6F}" destId="{7F3FFC2D-E458-4187-9F4B-D16453E97210}" srcOrd="3" destOrd="0" presId="urn:microsoft.com/office/officeart/2008/layout/VerticalCurvedList"/>
    <dgm:cxn modelId="{97B6A72F-A419-4EDA-8D4C-932E55F3819E}" type="presParOf" srcId="{A1B1ECF9-1054-4A8B-8984-14A31FF72E6F}" destId="{503D494C-6938-451C-A2FC-072DB447EC3B}" srcOrd="4" destOrd="0" presId="urn:microsoft.com/office/officeart/2008/layout/VerticalCurvedList"/>
    <dgm:cxn modelId="{8A83A5BF-6061-4C87-92BA-CDA60426139F}" type="presParOf" srcId="{503D494C-6938-451C-A2FC-072DB447EC3B}" destId="{6C9E2756-E42C-4269-AEE8-FB6D61F5F452}" srcOrd="0" destOrd="0" presId="urn:microsoft.com/office/officeart/2008/layout/VerticalCurvedList"/>
    <dgm:cxn modelId="{BCA35B1B-C99D-49D9-BB89-8092E0F79415}" type="presParOf" srcId="{A1B1ECF9-1054-4A8B-8984-14A31FF72E6F}" destId="{D3633B5F-F65D-4125-BF62-E288B8BAC066}" srcOrd="5" destOrd="0" presId="urn:microsoft.com/office/officeart/2008/layout/VerticalCurvedList"/>
    <dgm:cxn modelId="{674EB528-E439-4AD9-8CE3-19113D85E831}" type="presParOf" srcId="{A1B1ECF9-1054-4A8B-8984-14A31FF72E6F}" destId="{C50A266B-2E0F-46F4-B74F-471E25536DE6}" srcOrd="6" destOrd="0" presId="urn:microsoft.com/office/officeart/2008/layout/VerticalCurvedList"/>
    <dgm:cxn modelId="{8B7E287A-3E1F-4371-86EA-DC9BE377150F}" type="presParOf" srcId="{C50A266B-2E0F-46F4-B74F-471E25536DE6}" destId="{CB1716DE-D4DA-4725-B8FE-BDE14F63BFB5}" srcOrd="0" destOrd="0" presId="urn:microsoft.com/office/officeart/2008/layout/VerticalCurvedList"/>
    <dgm:cxn modelId="{3D595BED-226F-4316-87A4-4AB6332AD5AD}" type="presParOf" srcId="{A1B1ECF9-1054-4A8B-8984-14A31FF72E6F}" destId="{3CA88B6D-4A05-4AC9-803E-E81629862958}" srcOrd="7" destOrd="0" presId="urn:microsoft.com/office/officeart/2008/layout/VerticalCurvedList"/>
    <dgm:cxn modelId="{2EC6E160-7BEE-46A5-B296-C2C1E136DF2E}" type="presParOf" srcId="{A1B1ECF9-1054-4A8B-8984-14A31FF72E6F}" destId="{1C9C4E6E-B75D-476D-B81E-FBE50B40804E}" srcOrd="8" destOrd="0" presId="urn:microsoft.com/office/officeart/2008/layout/VerticalCurvedList"/>
    <dgm:cxn modelId="{51E80E7A-62CF-4991-99FB-A713E2DBA10F}" type="presParOf" srcId="{1C9C4E6E-B75D-476D-B81E-FBE50B40804E}" destId="{42B50AA0-4063-4130-90E7-8AC1DA2207C2}" srcOrd="0" destOrd="0" presId="urn:microsoft.com/office/officeart/2008/layout/VerticalCurvedList"/>
    <dgm:cxn modelId="{09099E20-B996-4393-B5D3-B3FC9323E3C7}" type="presParOf" srcId="{A1B1ECF9-1054-4A8B-8984-14A31FF72E6F}" destId="{2D97F427-A168-45EE-BBF1-B29EB0EB7690}" srcOrd="9" destOrd="0" presId="urn:microsoft.com/office/officeart/2008/layout/VerticalCurvedList"/>
    <dgm:cxn modelId="{6F924241-892D-4EFC-983E-A1BF6FE1D5FD}" type="presParOf" srcId="{A1B1ECF9-1054-4A8B-8984-14A31FF72E6F}" destId="{4B2991AB-EA5F-4105-A270-8AC9505442F3}" srcOrd="10" destOrd="0" presId="urn:microsoft.com/office/officeart/2008/layout/VerticalCurvedList"/>
    <dgm:cxn modelId="{D04BA595-E092-445B-92DC-DE43746F789C}" type="presParOf" srcId="{4B2991AB-EA5F-4105-A270-8AC9505442F3}" destId="{398FD6C1-79CB-45B8-A0C6-86469819DE13}" srcOrd="0" destOrd="0" presId="urn:microsoft.com/office/officeart/2008/layout/VerticalCurvedList"/>
    <dgm:cxn modelId="{2BB23AD1-A99A-4DEC-B562-65E732BB935E}" type="presParOf" srcId="{A1B1ECF9-1054-4A8B-8984-14A31FF72E6F}" destId="{FD2ABE94-AF24-48DC-8D43-F883ECB98759}" srcOrd="11" destOrd="0" presId="urn:microsoft.com/office/officeart/2008/layout/VerticalCurvedList"/>
    <dgm:cxn modelId="{7974A1ED-D94C-4CFB-840F-A14F86C23893}" type="presParOf" srcId="{A1B1ECF9-1054-4A8B-8984-14A31FF72E6F}" destId="{4B314DD0-29F6-47F6-BCD6-D4CEF4255EAA}" srcOrd="12" destOrd="0" presId="urn:microsoft.com/office/officeart/2008/layout/VerticalCurvedList"/>
    <dgm:cxn modelId="{0B503CDF-643C-4A6F-94CC-ABAFB3A40D8F}" type="presParOf" srcId="{4B314DD0-29F6-47F6-BCD6-D4CEF4255EAA}" destId="{BEFF1E9A-92D1-4C5A-A536-FAEB7B3685F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2140CE3-3D6E-4AA0-8E35-089004D82F3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E85BD1B-D055-4A9A-8F41-B9A89770530F}">
      <dgm:prSet phldrT="[Text]" custT="1"/>
      <dgm:spPr/>
      <dgm:t>
        <a:bodyPr/>
        <a:lstStyle/>
        <a:p>
          <a:r>
            <a:rPr lang="en-US" sz="2800">
              <a:latin typeface="+mj-lt"/>
            </a:rPr>
            <a:t>Cloud-only</a:t>
          </a:r>
        </a:p>
      </dgm:t>
    </dgm:pt>
    <dgm:pt modelId="{6EF17C6B-04F3-4812-B00E-C02BE12B9132}" type="parTrans" cxnId="{F538376A-E2D8-4D72-977D-5B82AB2839B6}">
      <dgm:prSet/>
      <dgm:spPr/>
      <dgm:t>
        <a:bodyPr/>
        <a:lstStyle/>
        <a:p>
          <a:endParaRPr lang="en-US">
            <a:latin typeface="+mj-lt"/>
          </a:endParaRPr>
        </a:p>
      </dgm:t>
    </dgm:pt>
    <dgm:pt modelId="{27943918-94BE-4C44-9E31-64AF48CE5F17}" type="sibTrans" cxnId="{F538376A-E2D8-4D72-977D-5B82AB2839B6}">
      <dgm:prSet/>
      <dgm:spPr/>
      <dgm:t>
        <a:bodyPr/>
        <a:lstStyle/>
        <a:p>
          <a:endParaRPr lang="en-US">
            <a:latin typeface="+mj-lt"/>
          </a:endParaRPr>
        </a:p>
      </dgm:t>
    </dgm:pt>
    <dgm:pt modelId="{D8B54184-973E-491D-A995-6313EF04C5D7}">
      <dgm:prSet phldrT="[Text]" custT="1"/>
      <dgm:spPr/>
      <dgm:t>
        <a:bodyPr/>
        <a:lstStyle/>
        <a:p>
          <a:r>
            <a:rPr lang="en-US" sz="2000" b="0" i="0">
              <a:latin typeface="+mn-lt"/>
            </a:rPr>
            <a:t>This implementation does not leverage </a:t>
          </a:r>
          <a:r>
            <a:rPr lang="en-US" sz="2000" b="0" i="0" err="1">
              <a:latin typeface="+mn-lt"/>
            </a:rPr>
            <a:t>VNet</a:t>
          </a:r>
          <a:r>
            <a:rPr lang="en-US" sz="2000" b="0" i="0">
              <a:latin typeface="+mn-lt"/>
            </a:rPr>
            <a:t> gateways to connect back to the on-premises network or to other Azure </a:t>
          </a:r>
          <a:r>
            <a:rPr lang="en-US" sz="2000" b="0" i="0" err="1">
              <a:latin typeface="+mn-lt"/>
            </a:rPr>
            <a:t>VNets</a:t>
          </a:r>
          <a:r>
            <a:rPr lang="en-US" sz="2000" b="0" i="0">
              <a:latin typeface="+mn-lt"/>
            </a:rPr>
            <a:t>. Connection to VMs is obtained through the public endpoints, rather than through a VPN connection</a:t>
          </a:r>
          <a:r>
            <a:rPr lang="en-US" sz="1800">
              <a:latin typeface="+mj-lt"/>
            </a:rPr>
            <a:t>.</a:t>
          </a:r>
        </a:p>
      </dgm:t>
    </dgm:pt>
    <dgm:pt modelId="{08100301-3E73-47CB-81FC-4BC11B55CB11}" type="parTrans" cxnId="{E781A965-8423-4ED4-9BD7-EB7A9B8BC9A0}">
      <dgm:prSet/>
      <dgm:spPr/>
      <dgm:t>
        <a:bodyPr/>
        <a:lstStyle/>
        <a:p>
          <a:endParaRPr lang="en-US">
            <a:latin typeface="+mj-lt"/>
          </a:endParaRPr>
        </a:p>
      </dgm:t>
    </dgm:pt>
    <dgm:pt modelId="{99E3BD41-295A-4D02-BBD1-BBCB2512160B}" type="sibTrans" cxnId="{E781A965-8423-4ED4-9BD7-EB7A9B8BC9A0}">
      <dgm:prSet/>
      <dgm:spPr/>
      <dgm:t>
        <a:bodyPr/>
        <a:lstStyle/>
        <a:p>
          <a:endParaRPr lang="en-US">
            <a:latin typeface="+mj-lt"/>
          </a:endParaRPr>
        </a:p>
      </dgm:t>
    </dgm:pt>
    <dgm:pt modelId="{FFFE0A55-5CEC-45CA-BF96-3D910F046F89}">
      <dgm:prSet phldrT="[Text]" custT="1"/>
      <dgm:spPr/>
      <dgm:t>
        <a:bodyPr/>
        <a:lstStyle/>
        <a:p>
          <a:r>
            <a:rPr lang="en-US" sz="2800">
              <a:latin typeface="+mj-lt"/>
            </a:rPr>
            <a:t>Cross-premises</a:t>
          </a:r>
        </a:p>
      </dgm:t>
    </dgm:pt>
    <dgm:pt modelId="{4A37502B-25F1-425E-8207-B4D9C5A6B953}" type="parTrans" cxnId="{1B5D31FE-460E-43F8-B550-BFBB00BEC481}">
      <dgm:prSet/>
      <dgm:spPr/>
      <dgm:t>
        <a:bodyPr/>
        <a:lstStyle/>
        <a:p>
          <a:endParaRPr lang="en-US">
            <a:latin typeface="+mj-lt"/>
          </a:endParaRPr>
        </a:p>
      </dgm:t>
    </dgm:pt>
    <dgm:pt modelId="{8E1E5B5B-CD5F-44DD-8F2A-EA8D75F0762A}" type="sibTrans" cxnId="{1B5D31FE-460E-43F8-B550-BFBB00BEC481}">
      <dgm:prSet/>
      <dgm:spPr/>
      <dgm:t>
        <a:bodyPr/>
        <a:lstStyle/>
        <a:p>
          <a:endParaRPr lang="en-US">
            <a:latin typeface="+mj-lt"/>
          </a:endParaRPr>
        </a:p>
      </dgm:t>
    </dgm:pt>
    <dgm:pt modelId="{EEE8A562-9605-4921-9DB8-DC7774EF45CB}">
      <dgm:prSet phldrT="[Text]" custT="1"/>
      <dgm:spPr/>
      <dgm:t>
        <a:bodyPr/>
        <a:lstStyle/>
        <a:p>
          <a:r>
            <a:rPr lang="en-US" sz="2000" b="0" i="0" kern="1200" dirty="0">
              <a:solidFill>
                <a:srgbClr val="505050">
                  <a:hueOff val="0"/>
                  <a:satOff val="0"/>
                  <a:lumOff val="0"/>
                  <a:alphaOff val="0"/>
                </a:srgbClr>
              </a:solidFill>
              <a:latin typeface="Segoe UI"/>
              <a:ea typeface="+mn-ea"/>
              <a:cs typeface="+mn-cs"/>
            </a:rPr>
            <a:t>This implementation offers grater flexibility as multi-site, VNet-to-VNet, and ExpressRoute configurations offer the needed flexibility to extend the on-premises network to the cloud and extend to multiple networks in Azure. Most cross-premises connectivity involve a VPN device for a secure connection with the VNet, however, a direct connection using ExpressRoute can be obtained to Azure and bypass the internet altogether. </a:t>
          </a:r>
          <a:r>
            <a:rPr lang="en-US" sz="2000" b="0" i="0" kern="1200" dirty="0">
              <a:solidFill>
                <a:srgbClr val="FF0000"/>
              </a:solidFill>
              <a:latin typeface="Segoe UI"/>
              <a:ea typeface="+mn-ea"/>
              <a:cs typeface="+mn-cs"/>
            </a:rPr>
            <a:t>Covered more in the Networking Workshop</a:t>
          </a:r>
        </a:p>
      </dgm:t>
    </dgm:pt>
    <dgm:pt modelId="{BF70D451-0491-4E9A-9CE9-E9BA6DAF89AB}" type="parTrans" cxnId="{FAD610D8-E4DF-454D-B313-3D6FE63BF392}">
      <dgm:prSet/>
      <dgm:spPr/>
      <dgm:t>
        <a:bodyPr/>
        <a:lstStyle/>
        <a:p>
          <a:endParaRPr lang="en-US">
            <a:latin typeface="+mj-lt"/>
          </a:endParaRPr>
        </a:p>
      </dgm:t>
    </dgm:pt>
    <dgm:pt modelId="{9CB359B6-AC55-4366-A79F-0BF2E79D3BBE}" type="sibTrans" cxnId="{FAD610D8-E4DF-454D-B313-3D6FE63BF392}">
      <dgm:prSet/>
      <dgm:spPr/>
      <dgm:t>
        <a:bodyPr/>
        <a:lstStyle/>
        <a:p>
          <a:endParaRPr lang="en-US">
            <a:latin typeface="+mj-lt"/>
          </a:endParaRPr>
        </a:p>
      </dgm:t>
    </dgm:pt>
    <dgm:pt modelId="{ED9BE67A-4942-4478-9FC3-7A89DC2FD0A0}" type="pres">
      <dgm:prSet presAssocID="{52140CE3-3D6E-4AA0-8E35-089004D82F31}" presName="linear" presStyleCnt="0">
        <dgm:presLayoutVars>
          <dgm:animLvl val="lvl"/>
          <dgm:resizeHandles val="exact"/>
        </dgm:presLayoutVars>
      </dgm:prSet>
      <dgm:spPr/>
    </dgm:pt>
    <dgm:pt modelId="{C5D4A05A-AB1D-458F-8055-753772ABFE2A}" type="pres">
      <dgm:prSet presAssocID="{9E85BD1B-D055-4A9A-8F41-B9A89770530F}" presName="parentText" presStyleLbl="node1" presStyleIdx="0" presStyleCnt="2" custScaleY="60379" custLinFactNeighborY="14272">
        <dgm:presLayoutVars>
          <dgm:chMax val="0"/>
          <dgm:bulletEnabled val="1"/>
        </dgm:presLayoutVars>
      </dgm:prSet>
      <dgm:spPr/>
    </dgm:pt>
    <dgm:pt modelId="{3E43F3D1-C321-40EB-A66F-5B096BFD6A15}" type="pres">
      <dgm:prSet presAssocID="{9E85BD1B-D055-4A9A-8F41-B9A89770530F}" presName="childText" presStyleLbl="revTx" presStyleIdx="0" presStyleCnt="2" custLinFactNeighborY="12624">
        <dgm:presLayoutVars>
          <dgm:bulletEnabled val="1"/>
        </dgm:presLayoutVars>
      </dgm:prSet>
      <dgm:spPr/>
    </dgm:pt>
    <dgm:pt modelId="{388508F6-7DB9-4CD3-81E7-370281608380}" type="pres">
      <dgm:prSet presAssocID="{FFFE0A55-5CEC-45CA-BF96-3D910F046F89}" presName="parentText" presStyleLbl="node1" presStyleIdx="1" presStyleCnt="2" custScaleY="60746">
        <dgm:presLayoutVars>
          <dgm:chMax val="0"/>
          <dgm:bulletEnabled val="1"/>
        </dgm:presLayoutVars>
      </dgm:prSet>
      <dgm:spPr/>
    </dgm:pt>
    <dgm:pt modelId="{9E15239A-812B-412B-9FBA-14C8836D05BE}" type="pres">
      <dgm:prSet presAssocID="{FFFE0A55-5CEC-45CA-BF96-3D910F046F89}" presName="childText" presStyleLbl="revTx" presStyleIdx="1" presStyleCnt="2">
        <dgm:presLayoutVars>
          <dgm:bulletEnabled val="1"/>
        </dgm:presLayoutVars>
      </dgm:prSet>
      <dgm:spPr/>
    </dgm:pt>
  </dgm:ptLst>
  <dgm:cxnLst>
    <dgm:cxn modelId="{9B399D42-6812-45B9-84F3-9E9A2A6DF31E}" type="presOf" srcId="{EEE8A562-9605-4921-9DB8-DC7774EF45CB}" destId="{9E15239A-812B-412B-9FBA-14C8836D05BE}" srcOrd="0" destOrd="0" presId="urn:microsoft.com/office/officeart/2005/8/layout/vList2"/>
    <dgm:cxn modelId="{DE019243-B2A6-429C-8833-3F8982141793}" type="presOf" srcId="{D8B54184-973E-491D-A995-6313EF04C5D7}" destId="{3E43F3D1-C321-40EB-A66F-5B096BFD6A15}" srcOrd="0" destOrd="0" presId="urn:microsoft.com/office/officeart/2005/8/layout/vList2"/>
    <dgm:cxn modelId="{E781A965-8423-4ED4-9BD7-EB7A9B8BC9A0}" srcId="{9E85BD1B-D055-4A9A-8F41-B9A89770530F}" destId="{D8B54184-973E-491D-A995-6313EF04C5D7}" srcOrd="0" destOrd="0" parTransId="{08100301-3E73-47CB-81FC-4BC11B55CB11}" sibTransId="{99E3BD41-295A-4D02-BBD1-BBCB2512160B}"/>
    <dgm:cxn modelId="{F538376A-E2D8-4D72-977D-5B82AB2839B6}" srcId="{52140CE3-3D6E-4AA0-8E35-089004D82F31}" destId="{9E85BD1B-D055-4A9A-8F41-B9A89770530F}" srcOrd="0" destOrd="0" parTransId="{6EF17C6B-04F3-4812-B00E-C02BE12B9132}" sibTransId="{27943918-94BE-4C44-9E31-64AF48CE5F17}"/>
    <dgm:cxn modelId="{B760E07B-E008-4781-BE35-A2B25A718CAA}" type="presOf" srcId="{9E85BD1B-D055-4A9A-8F41-B9A89770530F}" destId="{C5D4A05A-AB1D-458F-8055-753772ABFE2A}" srcOrd="0" destOrd="0" presId="urn:microsoft.com/office/officeart/2005/8/layout/vList2"/>
    <dgm:cxn modelId="{B12A41C8-96AF-417D-AE3F-5C524B5760CA}" type="presOf" srcId="{FFFE0A55-5CEC-45CA-BF96-3D910F046F89}" destId="{388508F6-7DB9-4CD3-81E7-370281608380}" srcOrd="0" destOrd="0" presId="urn:microsoft.com/office/officeart/2005/8/layout/vList2"/>
    <dgm:cxn modelId="{F73B0ACC-4845-4E83-8B2C-1DCC419066A3}" type="presOf" srcId="{52140CE3-3D6E-4AA0-8E35-089004D82F31}" destId="{ED9BE67A-4942-4478-9FC3-7A89DC2FD0A0}" srcOrd="0" destOrd="0" presId="urn:microsoft.com/office/officeart/2005/8/layout/vList2"/>
    <dgm:cxn modelId="{FAD610D8-E4DF-454D-B313-3D6FE63BF392}" srcId="{FFFE0A55-5CEC-45CA-BF96-3D910F046F89}" destId="{EEE8A562-9605-4921-9DB8-DC7774EF45CB}" srcOrd="0" destOrd="0" parTransId="{BF70D451-0491-4E9A-9CE9-E9BA6DAF89AB}" sibTransId="{9CB359B6-AC55-4366-A79F-0BF2E79D3BBE}"/>
    <dgm:cxn modelId="{1B5D31FE-460E-43F8-B550-BFBB00BEC481}" srcId="{52140CE3-3D6E-4AA0-8E35-089004D82F31}" destId="{FFFE0A55-5CEC-45CA-BF96-3D910F046F89}" srcOrd="1" destOrd="0" parTransId="{4A37502B-25F1-425E-8207-B4D9C5A6B953}" sibTransId="{8E1E5B5B-CD5F-44DD-8F2A-EA8D75F0762A}"/>
    <dgm:cxn modelId="{02202779-A137-404C-98AF-C6005D48635C}" type="presParOf" srcId="{ED9BE67A-4942-4478-9FC3-7A89DC2FD0A0}" destId="{C5D4A05A-AB1D-458F-8055-753772ABFE2A}" srcOrd="0" destOrd="0" presId="urn:microsoft.com/office/officeart/2005/8/layout/vList2"/>
    <dgm:cxn modelId="{6C5CE0BB-D3EF-4CB1-92F5-6FC11E1620A3}" type="presParOf" srcId="{ED9BE67A-4942-4478-9FC3-7A89DC2FD0A0}" destId="{3E43F3D1-C321-40EB-A66F-5B096BFD6A15}" srcOrd="1" destOrd="0" presId="urn:microsoft.com/office/officeart/2005/8/layout/vList2"/>
    <dgm:cxn modelId="{E3B6B2CB-CA54-46C3-8F8A-5F7E7560009C}" type="presParOf" srcId="{ED9BE67A-4942-4478-9FC3-7A89DC2FD0A0}" destId="{388508F6-7DB9-4CD3-81E7-370281608380}" srcOrd="2" destOrd="0" presId="urn:microsoft.com/office/officeart/2005/8/layout/vList2"/>
    <dgm:cxn modelId="{D2F1C3C2-9D2C-4B8D-80D3-A6CDA8A8FFAC}" type="presParOf" srcId="{ED9BE67A-4942-4478-9FC3-7A89DC2FD0A0}" destId="{9E15239A-812B-412B-9FBA-14C8836D05B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8CBAA32-CA0E-4AB7-8747-785D751F978E}" type="doc">
      <dgm:prSet loTypeId="urn:microsoft.com/office/officeart/2005/8/layout/gear1" loCatId="cycle" qsTypeId="urn:microsoft.com/office/officeart/2005/8/quickstyle/simple1" qsCatId="simple" csTypeId="urn:microsoft.com/office/officeart/2005/8/colors/accent0_2" csCatId="mainScheme" phldr="1"/>
      <dgm:spPr/>
    </dgm:pt>
    <dgm:pt modelId="{8772DA9A-DD34-448C-99CE-7E1385D9948A}">
      <dgm:prSet phldrT="[Text]"/>
      <dgm:spPr/>
      <dgm:t>
        <a:bodyPr/>
        <a:lstStyle/>
        <a:p>
          <a:r>
            <a:rPr lang="en-US" dirty="0"/>
            <a:t>  </a:t>
          </a:r>
        </a:p>
      </dgm:t>
    </dgm:pt>
    <dgm:pt modelId="{03C981DC-80C3-4A1D-B8B4-5A22070439A7}" type="parTrans" cxnId="{3905DD85-364C-4602-8BD4-2F954BC9175C}">
      <dgm:prSet/>
      <dgm:spPr/>
      <dgm:t>
        <a:bodyPr/>
        <a:lstStyle/>
        <a:p>
          <a:endParaRPr lang="en-US"/>
        </a:p>
      </dgm:t>
    </dgm:pt>
    <dgm:pt modelId="{75FAE797-5AF7-4B61-99BA-07A07770840C}" type="sibTrans" cxnId="{3905DD85-364C-4602-8BD4-2F954BC9175C}">
      <dgm:prSet/>
      <dgm:spPr/>
      <dgm:t>
        <a:bodyPr/>
        <a:lstStyle/>
        <a:p>
          <a:endParaRPr lang="en-US"/>
        </a:p>
      </dgm:t>
    </dgm:pt>
    <dgm:pt modelId="{88D04B12-28C4-45C6-A0F6-0D51A14DB287}">
      <dgm:prSet phldrT="[Text]"/>
      <dgm:spPr/>
      <dgm:t>
        <a:bodyPr/>
        <a:lstStyle/>
        <a:p>
          <a:r>
            <a:rPr lang="en-US" dirty="0"/>
            <a:t>  </a:t>
          </a:r>
        </a:p>
      </dgm:t>
    </dgm:pt>
    <dgm:pt modelId="{1A453FEE-2C8D-4DFC-A794-C6341A6145F5}" type="parTrans" cxnId="{134BA6EE-68D4-44F9-A338-6281A59F1E0E}">
      <dgm:prSet/>
      <dgm:spPr/>
      <dgm:t>
        <a:bodyPr/>
        <a:lstStyle/>
        <a:p>
          <a:endParaRPr lang="en-US"/>
        </a:p>
      </dgm:t>
    </dgm:pt>
    <dgm:pt modelId="{4737287E-539A-48A7-8121-41602DCCEBA0}" type="sibTrans" cxnId="{134BA6EE-68D4-44F9-A338-6281A59F1E0E}">
      <dgm:prSet/>
      <dgm:spPr/>
      <dgm:t>
        <a:bodyPr/>
        <a:lstStyle/>
        <a:p>
          <a:endParaRPr lang="en-US"/>
        </a:p>
      </dgm:t>
    </dgm:pt>
    <dgm:pt modelId="{906C80B9-6926-499D-AF24-4C7D3C8B49A0}">
      <dgm:prSet phldrT="[Text]"/>
      <dgm:spPr/>
      <dgm:t>
        <a:bodyPr/>
        <a:lstStyle/>
        <a:p>
          <a:r>
            <a:rPr lang="en-US" dirty="0"/>
            <a:t> </a:t>
          </a:r>
        </a:p>
      </dgm:t>
    </dgm:pt>
    <dgm:pt modelId="{A9C67C5D-4AEF-4E58-9B25-2C2892543C03}" type="parTrans" cxnId="{C51EAE0A-4150-4DAB-AF7E-6C52F541D820}">
      <dgm:prSet/>
      <dgm:spPr/>
      <dgm:t>
        <a:bodyPr/>
        <a:lstStyle/>
        <a:p>
          <a:endParaRPr lang="en-US"/>
        </a:p>
      </dgm:t>
    </dgm:pt>
    <dgm:pt modelId="{202A7C49-181A-4E05-8575-2DDCF523CD36}" type="sibTrans" cxnId="{C51EAE0A-4150-4DAB-AF7E-6C52F541D820}">
      <dgm:prSet/>
      <dgm:spPr/>
      <dgm:t>
        <a:bodyPr/>
        <a:lstStyle/>
        <a:p>
          <a:endParaRPr lang="en-US"/>
        </a:p>
      </dgm:t>
    </dgm:pt>
    <dgm:pt modelId="{4C7070FF-58F8-4ABE-8CCC-BE6CD1F9F679}" type="pres">
      <dgm:prSet presAssocID="{08CBAA32-CA0E-4AB7-8747-785D751F978E}" presName="composite" presStyleCnt="0">
        <dgm:presLayoutVars>
          <dgm:chMax val="3"/>
          <dgm:animLvl val="lvl"/>
          <dgm:resizeHandles val="exact"/>
        </dgm:presLayoutVars>
      </dgm:prSet>
      <dgm:spPr/>
    </dgm:pt>
    <dgm:pt modelId="{6D2FB671-AD53-486D-A705-94CA5DD85672}" type="pres">
      <dgm:prSet presAssocID="{8772DA9A-DD34-448C-99CE-7E1385D9948A}" presName="gear1" presStyleLbl="node1" presStyleIdx="0" presStyleCnt="3">
        <dgm:presLayoutVars>
          <dgm:chMax val="1"/>
          <dgm:bulletEnabled val="1"/>
        </dgm:presLayoutVars>
      </dgm:prSet>
      <dgm:spPr/>
    </dgm:pt>
    <dgm:pt modelId="{8795BE6E-6870-4948-8B20-6A16C530B92F}" type="pres">
      <dgm:prSet presAssocID="{8772DA9A-DD34-448C-99CE-7E1385D9948A}" presName="gear1srcNode" presStyleLbl="node1" presStyleIdx="0" presStyleCnt="3"/>
      <dgm:spPr/>
    </dgm:pt>
    <dgm:pt modelId="{9F2C97B2-F2E2-4419-B581-1FAADA140D8F}" type="pres">
      <dgm:prSet presAssocID="{8772DA9A-DD34-448C-99CE-7E1385D9948A}" presName="gear1dstNode" presStyleLbl="node1" presStyleIdx="0" presStyleCnt="3"/>
      <dgm:spPr/>
    </dgm:pt>
    <dgm:pt modelId="{4E82B5D5-CAF5-40BB-BCAC-B9F28B4BDDB5}" type="pres">
      <dgm:prSet presAssocID="{88D04B12-28C4-45C6-A0F6-0D51A14DB287}" presName="gear2" presStyleLbl="node1" presStyleIdx="1" presStyleCnt="3">
        <dgm:presLayoutVars>
          <dgm:chMax val="1"/>
          <dgm:bulletEnabled val="1"/>
        </dgm:presLayoutVars>
      </dgm:prSet>
      <dgm:spPr/>
    </dgm:pt>
    <dgm:pt modelId="{20E9A097-B89F-47F6-BF0D-B8CD8621FFB7}" type="pres">
      <dgm:prSet presAssocID="{88D04B12-28C4-45C6-A0F6-0D51A14DB287}" presName="gear2srcNode" presStyleLbl="node1" presStyleIdx="1" presStyleCnt="3"/>
      <dgm:spPr/>
    </dgm:pt>
    <dgm:pt modelId="{1C946018-6F12-4AC2-9FED-3471CD56E88D}" type="pres">
      <dgm:prSet presAssocID="{88D04B12-28C4-45C6-A0F6-0D51A14DB287}" presName="gear2dstNode" presStyleLbl="node1" presStyleIdx="1" presStyleCnt="3"/>
      <dgm:spPr/>
    </dgm:pt>
    <dgm:pt modelId="{A39546F2-9FAB-4A00-8F6B-FB86749E9053}" type="pres">
      <dgm:prSet presAssocID="{906C80B9-6926-499D-AF24-4C7D3C8B49A0}" presName="gear3" presStyleLbl="node1" presStyleIdx="2" presStyleCnt="3"/>
      <dgm:spPr/>
    </dgm:pt>
    <dgm:pt modelId="{468CC54F-1DE1-40F3-8383-C644E40F3094}" type="pres">
      <dgm:prSet presAssocID="{906C80B9-6926-499D-AF24-4C7D3C8B49A0}" presName="gear3tx" presStyleLbl="node1" presStyleIdx="2" presStyleCnt="3">
        <dgm:presLayoutVars>
          <dgm:chMax val="1"/>
          <dgm:bulletEnabled val="1"/>
        </dgm:presLayoutVars>
      </dgm:prSet>
      <dgm:spPr/>
    </dgm:pt>
    <dgm:pt modelId="{07EB88F3-F046-45C6-B0DF-6D47146C639C}" type="pres">
      <dgm:prSet presAssocID="{906C80B9-6926-499D-AF24-4C7D3C8B49A0}" presName="gear3srcNode" presStyleLbl="node1" presStyleIdx="2" presStyleCnt="3"/>
      <dgm:spPr/>
    </dgm:pt>
    <dgm:pt modelId="{488F6E67-9ED4-4E3E-9669-30256DCD4135}" type="pres">
      <dgm:prSet presAssocID="{906C80B9-6926-499D-AF24-4C7D3C8B49A0}" presName="gear3dstNode" presStyleLbl="node1" presStyleIdx="2" presStyleCnt="3"/>
      <dgm:spPr/>
    </dgm:pt>
    <dgm:pt modelId="{8A203D09-99F0-4252-9570-0D5AB679917F}" type="pres">
      <dgm:prSet presAssocID="{75FAE797-5AF7-4B61-99BA-07A07770840C}" presName="connector1" presStyleLbl="sibTrans2D1" presStyleIdx="0" presStyleCnt="3"/>
      <dgm:spPr/>
    </dgm:pt>
    <dgm:pt modelId="{C94B55EB-D001-4E25-8426-32EF3F2B1E81}" type="pres">
      <dgm:prSet presAssocID="{4737287E-539A-48A7-8121-41602DCCEBA0}" presName="connector2" presStyleLbl="sibTrans2D1" presStyleIdx="1" presStyleCnt="3"/>
      <dgm:spPr/>
    </dgm:pt>
    <dgm:pt modelId="{090F897C-A9C3-4867-97AC-22651FB9D316}" type="pres">
      <dgm:prSet presAssocID="{202A7C49-181A-4E05-8575-2DDCF523CD36}" presName="connector3" presStyleLbl="sibTrans2D1" presStyleIdx="2" presStyleCnt="3"/>
      <dgm:spPr/>
    </dgm:pt>
  </dgm:ptLst>
  <dgm:cxnLst>
    <dgm:cxn modelId="{C93EFC04-C50E-433B-BC52-B370E22E855B}" type="presOf" srcId="{8772DA9A-DD34-448C-99CE-7E1385D9948A}" destId="{6D2FB671-AD53-486D-A705-94CA5DD85672}" srcOrd="0" destOrd="0" presId="urn:microsoft.com/office/officeart/2005/8/layout/gear1"/>
    <dgm:cxn modelId="{C51EAE0A-4150-4DAB-AF7E-6C52F541D820}" srcId="{08CBAA32-CA0E-4AB7-8747-785D751F978E}" destId="{906C80B9-6926-499D-AF24-4C7D3C8B49A0}" srcOrd="2" destOrd="0" parTransId="{A9C67C5D-4AEF-4E58-9B25-2C2892543C03}" sibTransId="{202A7C49-181A-4E05-8575-2DDCF523CD36}"/>
    <dgm:cxn modelId="{530BBD13-880B-4C50-A03F-9D0AA051D23B}" type="presOf" srcId="{202A7C49-181A-4E05-8575-2DDCF523CD36}" destId="{090F897C-A9C3-4867-97AC-22651FB9D316}" srcOrd="0" destOrd="0" presId="urn:microsoft.com/office/officeart/2005/8/layout/gear1"/>
    <dgm:cxn modelId="{CED98817-6314-48E6-8C36-8B1C8868DBC0}" type="presOf" srcId="{08CBAA32-CA0E-4AB7-8747-785D751F978E}" destId="{4C7070FF-58F8-4ABE-8CCC-BE6CD1F9F679}" srcOrd="0" destOrd="0" presId="urn:microsoft.com/office/officeart/2005/8/layout/gear1"/>
    <dgm:cxn modelId="{1CA4F432-C143-4459-BCF3-D243EFEB8C5A}" type="presOf" srcId="{88D04B12-28C4-45C6-A0F6-0D51A14DB287}" destId="{4E82B5D5-CAF5-40BB-BCAC-B9F28B4BDDB5}" srcOrd="0" destOrd="0" presId="urn:microsoft.com/office/officeart/2005/8/layout/gear1"/>
    <dgm:cxn modelId="{ADFD5F3D-3F6B-40C4-B745-035DCBF36EBB}" type="presOf" srcId="{8772DA9A-DD34-448C-99CE-7E1385D9948A}" destId="{9F2C97B2-F2E2-4419-B581-1FAADA140D8F}" srcOrd="2" destOrd="0" presId="urn:microsoft.com/office/officeart/2005/8/layout/gear1"/>
    <dgm:cxn modelId="{F090D353-0755-440C-B11B-D354EF45CC60}" type="presOf" srcId="{906C80B9-6926-499D-AF24-4C7D3C8B49A0}" destId="{468CC54F-1DE1-40F3-8383-C644E40F3094}" srcOrd="1" destOrd="0" presId="urn:microsoft.com/office/officeart/2005/8/layout/gear1"/>
    <dgm:cxn modelId="{3905DD85-364C-4602-8BD4-2F954BC9175C}" srcId="{08CBAA32-CA0E-4AB7-8747-785D751F978E}" destId="{8772DA9A-DD34-448C-99CE-7E1385D9948A}" srcOrd="0" destOrd="0" parTransId="{03C981DC-80C3-4A1D-B8B4-5A22070439A7}" sibTransId="{75FAE797-5AF7-4B61-99BA-07A07770840C}"/>
    <dgm:cxn modelId="{7C898B8B-3E08-406F-B8A7-909AA2D0DA89}" type="presOf" srcId="{88D04B12-28C4-45C6-A0F6-0D51A14DB287}" destId="{20E9A097-B89F-47F6-BF0D-B8CD8621FFB7}" srcOrd="1" destOrd="0" presId="urn:microsoft.com/office/officeart/2005/8/layout/gear1"/>
    <dgm:cxn modelId="{47FC0E93-B822-42A2-A111-23958DD06DE9}" type="presOf" srcId="{4737287E-539A-48A7-8121-41602DCCEBA0}" destId="{C94B55EB-D001-4E25-8426-32EF3F2B1E81}" srcOrd="0" destOrd="0" presId="urn:microsoft.com/office/officeart/2005/8/layout/gear1"/>
    <dgm:cxn modelId="{0887D096-1264-47FB-A8FD-2E6D99EDF72F}" type="presOf" srcId="{906C80B9-6926-499D-AF24-4C7D3C8B49A0}" destId="{A39546F2-9FAB-4A00-8F6B-FB86749E9053}" srcOrd="0" destOrd="0" presId="urn:microsoft.com/office/officeart/2005/8/layout/gear1"/>
    <dgm:cxn modelId="{6B93EE9E-6C3A-4B4B-A255-7BB5A760DD55}" type="presOf" srcId="{906C80B9-6926-499D-AF24-4C7D3C8B49A0}" destId="{07EB88F3-F046-45C6-B0DF-6D47146C639C}" srcOrd="2" destOrd="0" presId="urn:microsoft.com/office/officeart/2005/8/layout/gear1"/>
    <dgm:cxn modelId="{8C9216A0-D7D2-45B6-B262-82F50D83FD4B}" type="presOf" srcId="{75FAE797-5AF7-4B61-99BA-07A07770840C}" destId="{8A203D09-99F0-4252-9570-0D5AB679917F}" srcOrd="0" destOrd="0" presId="urn:microsoft.com/office/officeart/2005/8/layout/gear1"/>
    <dgm:cxn modelId="{0A13EDA1-21AA-4F01-BDFD-E02584AA2B66}" type="presOf" srcId="{8772DA9A-DD34-448C-99CE-7E1385D9948A}" destId="{8795BE6E-6870-4948-8B20-6A16C530B92F}" srcOrd="1" destOrd="0" presId="urn:microsoft.com/office/officeart/2005/8/layout/gear1"/>
    <dgm:cxn modelId="{48C89CCF-6B79-446D-A289-A2C1DADECBD9}" type="presOf" srcId="{88D04B12-28C4-45C6-A0F6-0D51A14DB287}" destId="{1C946018-6F12-4AC2-9FED-3471CD56E88D}" srcOrd="2" destOrd="0" presId="urn:microsoft.com/office/officeart/2005/8/layout/gear1"/>
    <dgm:cxn modelId="{28C146D8-76E0-4973-AE46-5E1F3D803796}" type="presOf" srcId="{906C80B9-6926-499D-AF24-4C7D3C8B49A0}" destId="{488F6E67-9ED4-4E3E-9669-30256DCD4135}" srcOrd="3" destOrd="0" presId="urn:microsoft.com/office/officeart/2005/8/layout/gear1"/>
    <dgm:cxn modelId="{134BA6EE-68D4-44F9-A338-6281A59F1E0E}" srcId="{08CBAA32-CA0E-4AB7-8747-785D751F978E}" destId="{88D04B12-28C4-45C6-A0F6-0D51A14DB287}" srcOrd="1" destOrd="0" parTransId="{1A453FEE-2C8D-4DFC-A794-C6341A6145F5}" sibTransId="{4737287E-539A-48A7-8121-41602DCCEBA0}"/>
    <dgm:cxn modelId="{AA6EBA32-4492-41EF-B5A7-C4302CF1B8D3}" type="presParOf" srcId="{4C7070FF-58F8-4ABE-8CCC-BE6CD1F9F679}" destId="{6D2FB671-AD53-486D-A705-94CA5DD85672}" srcOrd="0" destOrd="0" presId="urn:microsoft.com/office/officeart/2005/8/layout/gear1"/>
    <dgm:cxn modelId="{5A9F7276-79A6-46EF-820B-A3555F6D4D55}" type="presParOf" srcId="{4C7070FF-58F8-4ABE-8CCC-BE6CD1F9F679}" destId="{8795BE6E-6870-4948-8B20-6A16C530B92F}" srcOrd="1" destOrd="0" presId="urn:microsoft.com/office/officeart/2005/8/layout/gear1"/>
    <dgm:cxn modelId="{089BD220-A124-4272-BEED-188267A53439}" type="presParOf" srcId="{4C7070FF-58F8-4ABE-8CCC-BE6CD1F9F679}" destId="{9F2C97B2-F2E2-4419-B581-1FAADA140D8F}" srcOrd="2" destOrd="0" presId="urn:microsoft.com/office/officeart/2005/8/layout/gear1"/>
    <dgm:cxn modelId="{C3BA2295-555E-4412-97F9-F7C126912AB7}" type="presParOf" srcId="{4C7070FF-58F8-4ABE-8CCC-BE6CD1F9F679}" destId="{4E82B5D5-CAF5-40BB-BCAC-B9F28B4BDDB5}" srcOrd="3" destOrd="0" presId="urn:microsoft.com/office/officeart/2005/8/layout/gear1"/>
    <dgm:cxn modelId="{0DFF7AA0-201E-4579-9E6A-C83BB576A816}" type="presParOf" srcId="{4C7070FF-58F8-4ABE-8CCC-BE6CD1F9F679}" destId="{20E9A097-B89F-47F6-BF0D-B8CD8621FFB7}" srcOrd="4" destOrd="0" presId="urn:microsoft.com/office/officeart/2005/8/layout/gear1"/>
    <dgm:cxn modelId="{6A5E919A-5A02-4E8A-ADD1-A4A7565B6A6F}" type="presParOf" srcId="{4C7070FF-58F8-4ABE-8CCC-BE6CD1F9F679}" destId="{1C946018-6F12-4AC2-9FED-3471CD56E88D}" srcOrd="5" destOrd="0" presId="urn:microsoft.com/office/officeart/2005/8/layout/gear1"/>
    <dgm:cxn modelId="{A8800AC7-D730-41D9-B5C0-7BA3E73683CD}" type="presParOf" srcId="{4C7070FF-58F8-4ABE-8CCC-BE6CD1F9F679}" destId="{A39546F2-9FAB-4A00-8F6B-FB86749E9053}" srcOrd="6" destOrd="0" presId="urn:microsoft.com/office/officeart/2005/8/layout/gear1"/>
    <dgm:cxn modelId="{70C445F8-D8AC-4067-815A-FDAFB2BCC01E}" type="presParOf" srcId="{4C7070FF-58F8-4ABE-8CCC-BE6CD1F9F679}" destId="{468CC54F-1DE1-40F3-8383-C644E40F3094}" srcOrd="7" destOrd="0" presId="urn:microsoft.com/office/officeart/2005/8/layout/gear1"/>
    <dgm:cxn modelId="{E93BCA43-6716-4BE2-B728-172CAFD249DD}" type="presParOf" srcId="{4C7070FF-58F8-4ABE-8CCC-BE6CD1F9F679}" destId="{07EB88F3-F046-45C6-B0DF-6D47146C639C}" srcOrd="8" destOrd="0" presId="urn:microsoft.com/office/officeart/2005/8/layout/gear1"/>
    <dgm:cxn modelId="{B3296718-634B-4C64-892D-1CB75A164622}" type="presParOf" srcId="{4C7070FF-58F8-4ABE-8CCC-BE6CD1F9F679}" destId="{488F6E67-9ED4-4E3E-9669-30256DCD4135}" srcOrd="9" destOrd="0" presId="urn:microsoft.com/office/officeart/2005/8/layout/gear1"/>
    <dgm:cxn modelId="{1ABD1EE6-DD20-4390-805E-627E711CC170}" type="presParOf" srcId="{4C7070FF-58F8-4ABE-8CCC-BE6CD1F9F679}" destId="{8A203D09-99F0-4252-9570-0D5AB679917F}" srcOrd="10" destOrd="0" presId="urn:microsoft.com/office/officeart/2005/8/layout/gear1"/>
    <dgm:cxn modelId="{128AAA77-4A8D-4E94-BA3A-B10E0EF1D0F4}" type="presParOf" srcId="{4C7070FF-58F8-4ABE-8CCC-BE6CD1F9F679}" destId="{C94B55EB-D001-4E25-8426-32EF3F2B1E81}" srcOrd="11" destOrd="0" presId="urn:microsoft.com/office/officeart/2005/8/layout/gear1"/>
    <dgm:cxn modelId="{737E786A-DDC5-4913-808C-C9C2B4DCD7A7}" type="presParOf" srcId="{4C7070FF-58F8-4ABE-8CCC-BE6CD1F9F679}" destId="{090F897C-A9C3-4867-97AC-22651FB9D316}"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1AF1838-C5CC-4F97-9462-61845A3F064B}"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47127A2D-1614-4251-82D9-F1A22869BBB5}">
      <dgm:prSet phldrT="[Text]"/>
      <dgm:spPr/>
      <dgm:t>
        <a:bodyPr/>
        <a:lstStyle/>
        <a:p>
          <a:r>
            <a:rPr lang="en-US"/>
            <a:t>Image families</a:t>
          </a:r>
        </a:p>
      </dgm:t>
    </dgm:pt>
    <dgm:pt modelId="{7FB9E4C8-AD9C-41C9-80F1-94F478C71BD9}" type="parTrans" cxnId="{98D07DAC-4411-4769-9B95-4CA5C261A3BB}">
      <dgm:prSet/>
      <dgm:spPr/>
      <dgm:t>
        <a:bodyPr/>
        <a:lstStyle/>
        <a:p>
          <a:endParaRPr lang="en-US"/>
        </a:p>
      </dgm:t>
    </dgm:pt>
    <dgm:pt modelId="{12EF1C2D-5CA7-480F-A8CC-A7BCB57F26EF}" type="sibTrans" cxnId="{98D07DAC-4411-4769-9B95-4CA5C261A3BB}">
      <dgm:prSet/>
      <dgm:spPr/>
      <dgm:t>
        <a:bodyPr/>
        <a:lstStyle/>
        <a:p>
          <a:endParaRPr lang="en-US"/>
        </a:p>
      </dgm:t>
    </dgm:pt>
    <dgm:pt modelId="{F93CA4C2-9FF9-48E8-9964-F095ECD0E612}">
      <dgm:prSet phldrT="[Text]"/>
      <dgm:spPr/>
      <dgm:t>
        <a:bodyPr/>
        <a:lstStyle/>
        <a:p>
          <a:r>
            <a:rPr lang="en-US"/>
            <a:t>VHDs managed and supported by Microsoft. Some may include pre-installed software and configuration. </a:t>
          </a:r>
        </a:p>
      </dgm:t>
    </dgm:pt>
    <dgm:pt modelId="{6116AA84-D66A-4BD0-A51A-049D4790B2B7}" type="parTrans" cxnId="{21C356E8-EFBB-4F32-9EB3-8BBBB4102511}">
      <dgm:prSet/>
      <dgm:spPr/>
      <dgm:t>
        <a:bodyPr/>
        <a:lstStyle/>
        <a:p>
          <a:endParaRPr lang="en-US"/>
        </a:p>
      </dgm:t>
    </dgm:pt>
    <dgm:pt modelId="{8A489F36-4E92-4382-A18E-4085489BA2EE}" type="sibTrans" cxnId="{21C356E8-EFBB-4F32-9EB3-8BBBB4102511}">
      <dgm:prSet/>
      <dgm:spPr/>
      <dgm:t>
        <a:bodyPr/>
        <a:lstStyle/>
        <a:p>
          <a:endParaRPr lang="en-US"/>
        </a:p>
      </dgm:t>
    </dgm:pt>
    <dgm:pt modelId="{B8F7B993-973F-4747-845E-E71339DB5339}">
      <dgm:prSet phldrT="[Text]"/>
      <dgm:spPr/>
      <dgm:t>
        <a:bodyPr/>
        <a:lstStyle/>
        <a:p>
          <a:r>
            <a:rPr lang="en-US"/>
            <a:t>Partner images</a:t>
          </a:r>
        </a:p>
      </dgm:t>
    </dgm:pt>
    <dgm:pt modelId="{DB421590-2BDD-4B6B-B477-FD9AD7532A2F}" type="parTrans" cxnId="{E0D70B2B-2923-4E8E-9134-5D3C21D6E30B}">
      <dgm:prSet/>
      <dgm:spPr/>
      <dgm:t>
        <a:bodyPr/>
        <a:lstStyle/>
        <a:p>
          <a:endParaRPr lang="en-US"/>
        </a:p>
      </dgm:t>
    </dgm:pt>
    <dgm:pt modelId="{CC267051-989E-41F3-AF44-55D46D2B33C0}" type="sibTrans" cxnId="{E0D70B2B-2923-4E8E-9134-5D3C21D6E30B}">
      <dgm:prSet/>
      <dgm:spPr/>
      <dgm:t>
        <a:bodyPr/>
        <a:lstStyle/>
        <a:p>
          <a:endParaRPr lang="en-US"/>
        </a:p>
      </dgm:t>
    </dgm:pt>
    <dgm:pt modelId="{C39CE0D0-47F0-4069-982B-871EE0F8147E}">
      <dgm:prSet phldrT="[Text]"/>
      <dgm:spPr/>
      <dgm:t>
        <a:bodyPr/>
        <a:lstStyle/>
        <a:p>
          <a:r>
            <a:rPr lang="en-US"/>
            <a:t>VHDs uploaded by partners for application consumption by the Azure customer. VMs deployed using partner images are not deployed on the same cluster or clusters as other VM workloads. </a:t>
          </a:r>
        </a:p>
      </dgm:t>
    </dgm:pt>
    <dgm:pt modelId="{6FC5231F-D990-4A1E-9B02-07923A1D0DB1}" type="parTrans" cxnId="{5C3E001B-9204-442F-AAA5-BC8037C14A52}">
      <dgm:prSet/>
      <dgm:spPr/>
      <dgm:t>
        <a:bodyPr/>
        <a:lstStyle/>
        <a:p>
          <a:endParaRPr lang="en-US"/>
        </a:p>
      </dgm:t>
    </dgm:pt>
    <dgm:pt modelId="{37651D46-8171-470F-B457-F31D1AB12874}" type="sibTrans" cxnId="{5C3E001B-9204-442F-AAA5-BC8037C14A52}">
      <dgm:prSet/>
      <dgm:spPr/>
      <dgm:t>
        <a:bodyPr/>
        <a:lstStyle/>
        <a:p>
          <a:endParaRPr lang="en-US"/>
        </a:p>
      </dgm:t>
    </dgm:pt>
    <dgm:pt modelId="{345F340E-F41A-458E-8E73-1F66068E2711}">
      <dgm:prSet phldrT="[Text]"/>
      <dgm:spPr/>
      <dgm:t>
        <a:bodyPr/>
        <a:lstStyle/>
        <a:p>
          <a:r>
            <a:rPr lang="en-US"/>
            <a:t>Latest images</a:t>
          </a:r>
        </a:p>
      </dgm:t>
    </dgm:pt>
    <dgm:pt modelId="{A2F27740-D7D8-4262-BBEF-B04FF57F4350}" type="parTrans" cxnId="{B70FACB2-B101-493D-8BD0-4EF262520CC8}">
      <dgm:prSet/>
      <dgm:spPr/>
      <dgm:t>
        <a:bodyPr/>
        <a:lstStyle/>
        <a:p>
          <a:endParaRPr lang="en-US"/>
        </a:p>
      </dgm:t>
    </dgm:pt>
    <dgm:pt modelId="{26E2E6CE-F64A-4950-BE23-D06D437B18BD}" type="sibTrans" cxnId="{B70FACB2-B101-493D-8BD0-4EF262520CC8}">
      <dgm:prSet/>
      <dgm:spPr/>
      <dgm:t>
        <a:bodyPr/>
        <a:lstStyle/>
        <a:p>
          <a:endParaRPr lang="en-US"/>
        </a:p>
      </dgm:t>
    </dgm:pt>
    <dgm:pt modelId="{C1C47CF3-C94E-44D8-9686-7DD711A83334}">
      <dgm:prSet phldrT="[Text]"/>
      <dgm:spPr/>
      <dgm:t>
        <a:bodyPr/>
        <a:lstStyle/>
        <a:p>
          <a:r>
            <a:rPr lang="en-US"/>
            <a:t>Images are kept as versions in Azure. Typically, you would want to choose the latest image.</a:t>
          </a:r>
        </a:p>
      </dgm:t>
    </dgm:pt>
    <dgm:pt modelId="{BE690F99-9CE0-4855-BB3A-70B19CA2F442}" type="parTrans" cxnId="{FA750576-B010-43C6-BEE7-0570BC798B1A}">
      <dgm:prSet/>
      <dgm:spPr/>
      <dgm:t>
        <a:bodyPr/>
        <a:lstStyle/>
        <a:p>
          <a:endParaRPr lang="en-US"/>
        </a:p>
      </dgm:t>
    </dgm:pt>
    <dgm:pt modelId="{32D28D01-688B-4E29-B9C2-C736ACFBA6A0}" type="sibTrans" cxnId="{FA750576-B010-43C6-BEE7-0570BC798B1A}">
      <dgm:prSet/>
      <dgm:spPr/>
      <dgm:t>
        <a:bodyPr/>
        <a:lstStyle/>
        <a:p>
          <a:endParaRPr lang="en-US"/>
        </a:p>
      </dgm:t>
    </dgm:pt>
    <dgm:pt modelId="{E199BBCC-1D7A-4E72-802E-254E184F639F}">
      <dgm:prSet phldrT="[Text]"/>
      <dgm:spPr/>
      <dgm:t>
        <a:bodyPr/>
        <a:lstStyle/>
        <a:p>
          <a:r>
            <a:rPr lang="en-US"/>
            <a:t>Customized images</a:t>
          </a:r>
        </a:p>
      </dgm:t>
    </dgm:pt>
    <dgm:pt modelId="{9C195BE5-8249-42BC-8DE3-DC2823BF7889}" type="parTrans" cxnId="{FD02973F-3C45-4454-81AA-685646F966C6}">
      <dgm:prSet/>
      <dgm:spPr/>
      <dgm:t>
        <a:bodyPr/>
        <a:lstStyle/>
        <a:p>
          <a:endParaRPr lang="en-US"/>
        </a:p>
      </dgm:t>
    </dgm:pt>
    <dgm:pt modelId="{8D0C8DF2-F114-46BF-B714-B113D84B95B6}" type="sibTrans" cxnId="{FD02973F-3C45-4454-81AA-685646F966C6}">
      <dgm:prSet/>
      <dgm:spPr/>
      <dgm:t>
        <a:bodyPr/>
        <a:lstStyle/>
        <a:p>
          <a:endParaRPr lang="en-US"/>
        </a:p>
      </dgm:t>
    </dgm:pt>
    <dgm:pt modelId="{EC5D52D1-852E-4412-842E-32B03F625407}">
      <dgm:prSet phldrT="[Text]"/>
      <dgm:spPr/>
      <dgm:t>
        <a:bodyPr/>
        <a:lstStyle/>
        <a:p>
          <a:r>
            <a:rPr lang="en-US"/>
            <a:t>Customer uploaded VHDs to leverage their own images. This is due to internal security, standard costs, and licensing scenarios. </a:t>
          </a:r>
        </a:p>
      </dgm:t>
    </dgm:pt>
    <dgm:pt modelId="{ED2AAEED-59AA-4E57-9208-3DED60756336}" type="parTrans" cxnId="{E2AEB8D9-FFED-4F42-839B-281E27BA008D}">
      <dgm:prSet/>
      <dgm:spPr/>
      <dgm:t>
        <a:bodyPr/>
        <a:lstStyle/>
        <a:p>
          <a:endParaRPr lang="en-US"/>
        </a:p>
      </dgm:t>
    </dgm:pt>
    <dgm:pt modelId="{28FC7178-624B-4021-9F7E-B366C740A34C}" type="sibTrans" cxnId="{E2AEB8D9-FFED-4F42-839B-281E27BA008D}">
      <dgm:prSet/>
      <dgm:spPr/>
      <dgm:t>
        <a:bodyPr/>
        <a:lstStyle/>
        <a:p>
          <a:endParaRPr lang="en-US"/>
        </a:p>
      </dgm:t>
    </dgm:pt>
    <dgm:pt modelId="{8CEB0025-E520-4B48-B139-D05E7CA8595A}" type="pres">
      <dgm:prSet presAssocID="{81AF1838-C5CC-4F97-9462-61845A3F064B}" presName="Name0" presStyleCnt="0">
        <dgm:presLayoutVars>
          <dgm:dir/>
          <dgm:animLvl val="lvl"/>
          <dgm:resizeHandles val="exact"/>
        </dgm:presLayoutVars>
      </dgm:prSet>
      <dgm:spPr/>
    </dgm:pt>
    <dgm:pt modelId="{9BAA54A2-720C-48B1-848E-0C1B9A23C299}" type="pres">
      <dgm:prSet presAssocID="{47127A2D-1614-4251-82D9-F1A22869BBB5}" presName="linNode" presStyleCnt="0"/>
      <dgm:spPr/>
    </dgm:pt>
    <dgm:pt modelId="{EC6F1AA0-2ADA-41BF-B9C7-9C84064123F2}" type="pres">
      <dgm:prSet presAssocID="{47127A2D-1614-4251-82D9-F1A22869BBB5}" presName="parTx" presStyleLbl="revTx" presStyleIdx="0" presStyleCnt="4">
        <dgm:presLayoutVars>
          <dgm:chMax val="1"/>
          <dgm:bulletEnabled val="1"/>
        </dgm:presLayoutVars>
      </dgm:prSet>
      <dgm:spPr/>
    </dgm:pt>
    <dgm:pt modelId="{D4F7CA77-DFAF-45CB-ABD2-97A8F01ACD75}" type="pres">
      <dgm:prSet presAssocID="{47127A2D-1614-4251-82D9-F1A22869BBB5}" presName="bracket" presStyleLbl="parChTrans1D1" presStyleIdx="0" presStyleCnt="4"/>
      <dgm:spPr/>
    </dgm:pt>
    <dgm:pt modelId="{A8BABA9E-14F7-4DCD-8334-E2B498DF3883}" type="pres">
      <dgm:prSet presAssocID="{47127A2D-1614-4251-82D9-F1A22869BBB5}" presName="spH" presStyleCnt="0"/>
      <dgm:spPr/>
    </dgm:pt>
    <dgm:pt modelId="{D1BA6EEF-BB6F-464D-ADE3-715ABBEBFB5E}" type="pres">
      <dgm:prSet presAssocID="{47127A2D-1614-4251-82D9-F1A22869BBB5}" presName="desTx" presStyleLbl="node1" presStyleIdx="0" presStyleCnt="4">
        <dgm:presLayoutVars>
          <dgm:bulletEnabled val="1"/>
        </dgm:presLayoutVars>
      </dgm:prSet>
      <dgm:spPr/>
    </dgm:pt>
    <dgm:pt modelId="{23DE629E-6665-43F8-B147-9FBBCF6D6B41}" type="pres">
      <dgm:prSet presAssocID="{12EF1C2D-5CA7-480F-A8CC-A7BCB57F26EF}" presName="spV" presStyleCnt="0"/>
      <dgm:spPr/>
    </dgm:pt>
    <dgm:pt modelId="{6167BE7C-E3F7-46BA-9C8F-A121D565BA8F}" type="pres">
      <dgm:prSet presAssocID="{B8F7B993-973F-4747-845E-E71339DB5339}" presName="linNode" presStyleCnt="0"/>
      <dgm:spPr/>
    </dgm:pt>
    <dgm:pt modelId="{98DE35D3-4000-43EB-94D0-C18A89259E40}" type="pres">
      <dgm:prSet presAssocID="{B8F7B993-973F-4747-845E-E71339DB5339}" presName="parTx" presStyleLbl="revTx" presStyleIdx="1" presStyleCnt="4">
        <dgm:presLayoutVars>
          <dgm:chMax val="1"/>
          <dgm:bulletEnabled val="1"/>
        </dgm:presLayoutVars>
      </dgm:prSet>
      <dgm:spPr/>
    </dgm:pt>
    <dgm:pt modelId="{4F92CA34-CFF7-4B62-AC12-9219960218FF}" type="pres">
      <dgm:prSet presAssocID="{B8F7B993-973F-4747-845E-E71339DB5339}" presName="bracket" presStyleLbl="parChTrans1D1" presStyleIdx="1" presStyleCnt="4"/>
      <dgm:spPr/>
    </dgm:pt>
    <dgm:pt modelId="{F6897397-236E-4CC3-A0E0-62044CEABBC4}" type="pres">
      <dgm:prSet presAssocID="{B8F7B993-973F-4747-845E-E71339DB5339}" presName="spH" presStyleCnt="0"/>
      <dgm:spPr/>
    </dgm:pt>
    <dgm:pt modelId="{AB01809A-9F3A-42FD-9327-EE96E0EEAC4F}" type="pres">
      <dgm:prSet presAssocID="{B8F7B993-973F-4747-845E-E71339DB5339}" presName="desTx" presStyleLbl="node1" presStyleIdx="1" presStyleCnt="4">
        <dgm:presLayoutVars>
          <dgm:bulletEnabled val="1"/>
        </dgm:presLayoutVars>
      </dgm:prSet>
      <dgm:spPr/>
    </dgm:pt>
    <dgm:pt modelId="{96A33D48-79F9-40B6-B6CC-B886C77B4839}" type="pres">
      <dgm:prSet presAssocID="{CC267051-989E-41F3-AF44-55D46D2B33C0}" presName="spV" presStyleCnt="0"/>
      <dgm:spPr/>
    </dgm:pt>
    <dgm:pt modelId="{E1C2D622-0513-47CF-A90F-93C07F31F44D}" type="pres">
      <dgm:prSet presAssocID="{345F340E-F41A-458E-8E73-1F66068E2711}" presName="linNode" presStyleCnt="0"/>
      <dgm:spPr/>
    </dgm:pt>
    <dgm:pt modelId="{5227F8DD-3E3D-48E1-B5A9-33459A3530FA}" type="pres">
      <dgm:prSet presAssocID="{345F340E-F41A-458E-8E73-1F66068E2711}" presName="parTx" presStyleLbl="revTx" presStyleIdx="2" presStyleCnt="4">
        <dgm:presLayoutVars>
          <dgm:chMax val="1"/>
          <dgm:bulletEnabled val="1"/>
        </dgm:presLayoutVars>
      </dgm:prSet>
      <dgm:spPr/>
    </dgm:pt>
    <dgm:pt modelId="{7C9921C5-7AF6-47A3-9CC9-1A694D9FA311}" type="pres">
      <dgm:prSet presAssocID="{345F340E-F41A-458E-8E73-1F66068E2711}" presName="bracket" presStyleLbl="parChTrans1D1" presStyleIdx="2" presStyleCnt="4"/>
      <dgm:spPr/>
    </dgm:pt>
    <dgm:pt modelId="{DDE89084-C1EC-4CF6-98F4-BDE4FDEEB85E}" type="pres">
      <dgm:prSet presAssocID="{345F340E-F41A-458E-8E73-1F66068E2711}" presName="spH" presStyleCnt="0"/>
      <dgm:spPr/>
    </dgm:pt>
    <dgm:pt modelId="{3FA99279-4F1D-432F-950F-20C99441D246}" type="pres">
      <dgm:prSet presAssocID="{345F340E-F41A-458E-8E73-1F66068E2711}" presName="desTx" presStyleLbl="node1" presStyleIdx="2" presStyleCnt="4">
        <dgm:presLayoutVars>
          <dgm:bulletEnabled val="1"/>
        </dgm:presLayoutVars>
      </dgm:prSet>
      <dgm:spPr/>
    </dgm:pt>
    <dgm:pt modelId="{F8E47783-6753-439C-8139-9F27C0186973}" type="pres">
      <dgm:prSet presAssocID="{26E2E6CE-F64A-4950-BE23-D06D437B18BD}" presName="spV" presStyleCnt="0"/>
      <dgm:spPr/>
    </dgm:pt>
    <dgm:pt modelId="{4DD1868D-C20F-4F98-9449-0AE52DA6D414}" type="pres">
      <dgm:prSet presAssocID="{E199BBCC-1D7A-4E72-802E-254E184F639F}" presName="linNode" presStyleCnt="0"/>
      <dgm:spPr/>
    </dgm:pt>
    <dgm:pt modelId="{176667AC-1AE7-41A7-B2E0-629F43DCF76D}" type="pres">
      <dgm:prSet presAssocID="{E199BBCC-1D7A-4E72-802E-254E184F639F}" presName="parTx" presStyleLbl="revTx" presStyleIdx="3" presStyleCnt="4">
        <dgm:presLayoutVars>
          <dgm:chMax val="1"/>
          <dgm:bulletEnabled val="1"/>
        </dgm:presLayoutVars>
      </dgm:prSet>
      <dgm:spPr/>
    </dgm:pt>
    <dgm:pt modelId="{A9FE1331-D55F-4DFD-AC5A-416DD75E5B72}" type="pres">
      <dgm:prSet presAssocID="{E199BBCC-1D7A-4E72-802E-254E184F639F}" presName="bracket" presStyleLbl="parChTrans1D1" presStyleIdx="3" presStyleCnt="4"/>
      <dgm:spPr/>
    </dgm:pt>
    <dgm:pt modelId="{C7BCDAD9-334F-4FE9-ACEB-D5609D40E49C}" type="pres">
      <dgm:prSet presAssocID="{E199BBCC-1D7A-4E72-802E-254E184F639F}" presName="spH" presStyleCnt="0"/>
      <dgm:spPr/>
    </dgm:pt>
    <dgm:pt modelId="{C24D8B61-F32F-4A99-8F05-BF5B8D301E30}" type="pres">
      <dgm:prSet presAssocID="{E199BBCC-1D7A-4E72-802E-254E184F639F}" presName="desTx" presStyleLbl="node1" presStyleIdx="3" presStyleCnt="4">
        <dgm:presLayoutVars>
          <dgm:bulletEnabled val="1"/>
        </dgm:presLayoutVars>
      </dgm:prSet>
      <dgm:spPr/>
    </dgm:pt>
  </dgm:ptLst>
  <dgm:cxnLst>
    <dgm:cxn modelId="{EE5B2204-734E-4067-974F-AB2ECFD7A09E}" type="presOf" srcId="{345F340E-F41A-458E-8E73-1F66068E2711}" destId="{5227F8DD-3E3D-48E1-B5A9-33459A3530FA}" srcOrd="0" destOrd="0" presId="urn:diagrams.loki3.com/BracketList"/>
    <dgm:cxn modelId="{2DDC9605-93F3-4B43-A591-CCA0C32A31A6}" type="presOf" srcId="{F93CA4C2-9FF9-48E8-9964-F095ECD0E612}" destId="{D1BA6EEF-BB6F-464D-ADE3-715ABBEBFB5E}" srcOrd="0" destOrd="0" presId="urn:diagrams.loki3.com/BracketList"/>
    <dgm:cxn modelId="{5C3E001B-9204-442F-AAA5-BC8037C14A52}" srcId="{B8F7B993-973F-4747-845E-E71339DB5339}" destId="{C39CE0D0-47F0-4069-982B-871EE0F8147E}" srcOrd="0" destOrd="0" parTransId="{6FC5231F-D990-4A1E-9B02-07923A1D0DB1}" sibTransId="{37651D46-8171-470F-B457-F31D1AB12874}"/>
    <dgm:cxn modelId="{E0D70B2B-2923-4E8E-9134-5D3C21D6E30B}" srcId="{81AF1838-C5CC-4F97-9462-61845A3F064B}" destId="{B8F7B993-973F-4747-845E-E71339DB5339}" srcOrd="1" destOrd="0" parTransId="{DB421590-2BDD-4B6B-B477-FD9AD7532A2F}" sibTransId="{CC267051-989E-41F3-AF44-55D46D2B33C0}"/>
    <dgm:cxn modelId="{2B78932B-5F3C-4560-A2CA-4B0807211661}" type="presOf" srcId="{47127A2D-1614-4251-82D9-F1A22869BBB5}" destId="{EC6F1AA0-2ADA-41BF-B9C7-9C84064123F2}" srcOrd="0" destOrd="0" presId="urn:diagrams.loki3.com/BracketList"/>
    <dgm:cxn modelId="{FD02973F-3C45-4454-81AA-685646F966C6}" srcId="{81AF1838-C5CC-4F97-9462-61845A3F064B}" destId="{E199BBCC-1D7A-4E72-802E-254E184F639F}" srcOrd="3" destOrd="0" parTransId="{9C195BE5-8249-42BC-8DE3-DC2823BF7889}" sibTransId="{8D0C8DF2-F114-46BF-B714-B113D84B95B6}"/>
    <dgm:cxn modelId="{6583076D-07C4-487E-98B7-91549E97B466}" type="presOf" srcId="{EC5D52D1-852E-4412-842E-32B03F625407}" destId="{C24D8B61-F32F-4A99-8F05-BF5B8D301E30}" srcOrd="0" destOrd="0" presId="urn:diagrams.loki3.com/BracketList"/>
    <dgm:cxn modelId="{FA750576-B010-43C6-BEE7-0570BC798B1A}" srcId="{345F340E-F41A-458E-8E73-1F66068E2711}" destId="{C1C47CF3-C94E-44D8-9686-7DD711A83334}" srcOrd="0" destOrd="0" parTransId="{BE690F99-9CE0-4855-BB3A-70B19CA2F442}" sibTransId="{32D28D01-688B-4E29-B9C2-C736ACFBA6A0}"/>
    <dgm:cxn modelId="{6379BA7A-CA0E-4940-ACEE-D718ABFA8C33}" type="presOf" srcId="{E199BBCC-1D7A-4E72-802E-254E184F639F}" destId="{176667AC-1AE7-41A7-B2E0-629F43DCF76D}" srcOrd="0" destOrd="0" presId="urn:diagrams.loki3.com/BracketList"/>
    <dgm:cxn modelId="{2DB5F4A7-10C5-40E8-92C3-5BC97AD879E1}" type="presOf" srcId="{B8F7B993-973F-4747-845E-E71339DB5339}" destId="{98DE35D3-4000-43EB-94D0-C18A89259E40}" srcOrd="0" destOrd="0" presId="urn:diagrams.loki3.com/BracketList"/>
    <dgm:cxn modelId="{489EE8AA-6C24-4A8B-9A9F-E217C89C7291}" type="presOf" srcId="{C39CE0D0-47F0-4069-982B-871EE0F8147E}" destId="{AB01809A-9F3A-42FD-9327-EE96E0EEAC4F}" srcOrd="0" destOrd="0" presId="urn:diagrams.loki3.com/BracketList"/>
    <dgm:cxn modelId="{98D07DAC-4411-4769-9B95-4CA5C261A3BB}" srcId="{81AF1838-C5CC-4F97-9462-61845A3F064B}" destId="{47127A2D-1614-4251-82D9-F1A22869BBB5}" srcOrd="0" destOrd="0" parTransId="{7FB9E4C8-AD9C-41C9-80F1-94F478C71BD9}" sibTransId="{12EF1C2D-5CA7-480F-A8CC-A7BCB57F26EF}"/>
    <dgm:cxn modelId="{B70FACB2-B101-493D-8BD0-4EF262520CC8}" srcId="{81AF1838-C5CC-4F97-9462-61845A3F064B}" destId="{345F340E-F41A-458E-8E73-1F66068E2711}" srcOrd="2" destOrd="0" parTransId="{A2F27740-D7D8-4262-BBEF-B04FF57F4350}" sibTransId="{26E2E6CE-F64A-4950-BE23-D06D437B18BD}"/>
    <dgm:cxn modelId="{1BA7E7D8-A5AE-43D8-8B3D-2C8A31F68B3E}" type="presOf" srcId="{81AF1838-C5CC-4F97-9462-61845A3F064B}" destId="{8CEB0025-E520-4B48-B139-D05E7CA8595A}" srcOrd="0" destOrd="0" presId="urn:diagrams.loki3.com/BracketList"/>
    <dgm:cxn modelId="{E2AEB8D9-FFED-4F42-839B-281E27BA008D}" srcId="{E199BBCC-1D7A-4E72-802E-254E184F639F}" destId="{EC5D52D1-852E-4412-842E-32B03F625407}" srcOrd="0" destOrd="0" parTransId="{ED2AAEED-59AA-4E57-9208-3DED60756336}" sibTransId="{28FC7178-624B-4021-9F7E-B366C740A34C}"/>
    <dgm:cxn modelId="{21C356E8-EFBB-4F32-9EB3-8BBBB4102511}" srcId="{47127A2D-1614-4251-82D9-F1A22869BBB5}" destId="{F93CA4C2-9FF9-48E8-9964-F095ECD0E612}" srcOrd="0" destOrd="0" parTransId="{6116AA84-D66A-4BD0-A51A-049D4790B2B7}" sibTransId="{8A489F36-4E92-4382-A18E-4085489BA2EE}"/>
    <dgm:cxn modelId="{C47B49FE-CF75-409A-949C-63D0FF9B3720}" type="presOf" srcId="{C1C47CF3-C94E-44D8-9686-7DD711A83334}" destId="{3FA99279-4F1D-432F-950F-20C99441D246}" srcOrd="0" destOrd="0" presId="urn:diagrams.loki3.com/BracketList"/>
    <dgm:cxn modelId="{DFA2B7BA-5EA3-42C8-AE16-C32E4ECCACAD}" type="presParOf" srcId="{8CEB0025-E520-4B48-B139-D05E7CA8595A}" destId="{9BAA54A2-720C-48B1-848E-0C1B9A23C299}" srcOrd="0" destOrd="0" presId="urn:diagrams.loki3.com/BracketList"/>
    <dgm:cxn modelId="{16D0580E-0BA3-40E5-A423-AD0040671F4E}" type="presParOf" srcId="{9BAA54A2-720C-48B1-848E-0C1B9A23C299}" destId="{EC6F1AA0-2ADA-41BF-B9C7-9C84064123F2}" srcOrd="0" destOrd="0" presId="urn:diagrams.loki3.com/BracketList"/>
    <dgm:cxn modelId="{B5856607-7292-45EB-BC84-531CF8A519FD}" type="presParOf" srcId="{9BAA54A2-720C-48B1-848E-0C1B9A23C299}" destId="{D4F7CA77-DFAF-45CB-ABD2-97A8F01ACD75}" srcOrd="1" destOrd="0" presId="urn:diagrams.loki3.com/BracketList"/>
    <dgm:cxn modelId="{BF09B594-A974-4DD3-A524-B0C384D893AB}" type="presParOf" srcId="{9BAA54A2-720C-48B1-848E-0C1B9A23C299}" destId="{A8BABA9E-14F7-4DCD-8334-E2B498DF3883}" srcOrd="2" destOrd="0" presId="urn:diagrams.loki3.com/BracketList"/>
    <dgm:cxn modelId="{C974C1B5-D0EF-457C-8F26-399F20D9527A}" type="presParOf" srcId="{9BAA54A2-720C-48B1-848E-0C1B9A23C299}" destId="{D1BA6EEF-BB6F-464D-ADE3-715ABBEBFB5E}" srcOrd="3" destOrd="0" presId="urn:diagrams.loki3.com/BracketList"/>
    <dgm:cxn modelId="{772C5FEE-1377-4088-8FBB-FB100FB2C123}" type="presParOf" srcId="{8CEB0025-E520-4B48-B139-D05E7CA8595A}" destId="{23DE629E-6665-43F8-B147-9FBBCF6D6B41}" srcOrd="1" destOrd="0" presId="urn:diagrams.loki3.com/BracketList"/>
    <dgm:cxn modelId="{1FAC3F19-E018-43B2-8929-ED49B1D0B553}" type="presParOf" srcId="{8CEB0025-E520-4B48-B139-D05E7CA8595A}" destId="{6167BE7C-E3F7-46BA-9C8F-A121D565BA8F}" srcOrd="2" destOrd="0" presId="urn:diagrams.loki3.com/BracketList"/>
    <dgm:cxn modelId="{71839FBB-EB0C-47A7-A0D5-2690EB17387F}" type="presParOf" srcId="{6167BE7C-E3F7-46BA-9C8F-A121D565BA8F}" destId="{98DE35D3-4000-43EB-94D0-C18A89259E40}" srcOrd="0" destOrd="0" presId="urn:diagrams.loki3.com/BracketList"/>
    <dgm:cxn modelId="{FFE4ACCA-BB12-4A6A-BDD2-E2237FF11FC0}" type="presParOf" srcId="{6167BE7C-E3F7-46BA-9C8F-A121D565BA8F}" destId="{4F92CA34-CFF7-4B62-AC12-9219960218FF}" srcOrd="1" destOrd="0" presId="urn:diagrams.loki3.com/BracketList"/>
    <dgm:cxn modelId="{29D61F29-8C5C-412D-BCC4-CC9177525875}" type="presParOf" srcId="{6167BE7C-E3F7-46BA-9C8F-A121D565BA8F}" destId="{F6897397-236E-4CC3-A0E0-62044CEABBC4}" srcOrd="2" destOrd="0" presId="urn:diagrams.loki3.com/BracketList"/>
    <dgm:cxn modelId="{EEECA077-DFFA-489B-B6D3-FE807DE12502}" type="presParOf" srcId="{6167BE7C-E3F7-46BA-9C8F-A121D565BA8F}" destId="{AB01809A-9F3A-42FD-9327-EE96E0EEAC4F}" srcOrd="3" destOrd="0" presId="urn:diagrams.loki3.com/BracketList"/>
    <dgm:cxn modelId="{EE64A3E3-D028-4F58-BD65-FC57DEA7C4D6}" type="presParOf" srcId="{8CEB0025-E520-4B48-B139-D05E7CA8595A}" destId="{96A33D48-79F9-40B6-B6CC-B886C77B4839}" srcOrd="3" destOrd="0" presId="urn:diagrams.loki3.com/BracketList"/>
    <dgm:cxn modelId="{8C2D98C8-36EE-4EFF-ABF5-FF2B035BF50E}" type="presParOf" srcId="{8CEB0025-E520-4B48-B139-D05E7CA8595A}" destId="{E1C2D622-0513-47CF-A90F-93C07F31F44D}" srcOrd="4" destOrd="0" presId="urn:diagrams.loki3.com/BracketList"/>
    <dgm:cxn modelId="{DF566657-38B1-4680-8122-06CDAF4BC43C}" type="presParOf" srcId="{E1C2D622-0513-47CF-A90F-93C07F31F44D}" destId="{5227F8DD-3E3D-48E1-B5A9-33459A3530FA}" srcOrd="0" destOrd="0" presId="urn:diagrams.loki3.com/BracketList"/>
    <dgm:cxn modelId="{11479212-1300-4350-A67C-3FE2325C5664}" type="presParOf" srcId="{E1C2D622-0513-47CF-A90F-93C07F31F44D}" destId="{7C9921C5-7AF6-47A3-9CC9-1A694D9FA311}" srcOrd="1" destOrd="0" presId="urn:diagrams.loki3.com/BracketList"/>
    <dgm:cxn modelId="{BF21B0F5-2821-443C-8B68-84F13C519649}" type="presParOf" srcId="{E1C2D622-0513-47CF-A90F-93C07F31F44D}" destId="{DDE89084-C1EC-4CF6-98F4-BDE4FDEEB85E}" srcOrd="2" destOrd="0" presId="urn:diagrams.loki3.com/BracketList"/>
    <dgm:cxn modelId="{C42B8A37-D72C-41AA-8C84-7F1AA105EA44}" type="presParOf" srcId="{E1C2D622-0513-47CF-A90F-93C07F31F44D}" destId="{3FA99279-4F1D-432F-950F-20C99441D246}" srcOrd="3" destOrd="0" presId="urn:diagrams.loki3.com/BracketList"/>
    <dgm:cxn modelId="{82DEE53B-51F7-4D53-A6DE-AFC7F3251880}" type="presParOf" srcId="{8CEB0025-E520-4B48-B139-D05E7CA8595A}" destId="{F8E47783-6753-439C-8139-9F27C0186973}" srcOrd="5" destOrd="0" presId="urn:diagrams.loki3.com/BracketList"/>
    <dgm:cxn modelId="{31BB4298-9611-4652-A9A1-CC48ABCABDCE}" type="presParOf" srcId="{8CEB0025-E520-4B48-B139-D05E7CA8595A}" destId="{4DD1868D-C20F-4F98-9449-0AE52DA6D414}" srcOrd="6" destOrd="0" presId="urn:diagrams.loki3.com/BracketList"/>
    <dgm:cxn modelId="{3386656F-622F-44BD-B181-598AF9C45BBF}" type="presParOf" srcId="{4DD1868D-C20F-4F98-9449-0AE52DA6D414}" destId="{176667AC-1AE7-41A7-B2E0-629F43DCF76D}" srcOrd="0" destOrd="0" presId="urn:diagrams.loki3.com/BracketList"/>
    <dgm:cxn modelId="{CDA22A2A-A978-4B61-934F-8C9B68F6CB46}" type="presParOf" srcId="{4DD1868D-C20F-4F98-9449-0AE52DA6D414}" destId="{A9FE1331-D55F-4DFD-AC5A-416DD75E5B72}" srcOrd="1" destOrd="0" presId="urn:diagrams.loki3.com/BracketList"/>
    <dgm:cxn modelId="{2F8D94B1-9FC3-46A0-B7B2-FA5B32B08A2C}" type="presParOf" srcId="{4DD1868D-C20F-4F98-9449-0AE52DA6D414}" destId="{C7BCDAD9-334F-4FE9-ACEB-D5609D40E49C}" srcOrd="2" destOrd="0" presId="urn:diagrams.loki3.com/BracketList"/>
    <dgm:cxn modelId="{63A9FC91-9FDF-47ED-A6CE-B512B5D7296D}" type="presParOf" srcId="{4DD1868D-C20F-4F98-9449-0AE52DA6D414}" destId="{C24D8B61-F32F-4A99-8F05-BF5B8D301E30}"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148278-76AE-4CC0-B435-D57CD6F67B67}">
      <dsp:nvSpPr>
        <dsp:cNvPr id="0" name=""/>
        <dsp:cNvSpPr/>
      </dsp:nvSpPr>
      <dsp:spPr>
        <a:xfrm>
          <a:off x="1308674" y="1436"/>
          <a:ext cx="2884632" cy="173077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a:t>Connectivity and basic management</a:t>
          </a:r>
        </a:p>
      </dsp:txBody>
      <dsp:txXfrm>
        <a:off x="1308674" y="1436"/>
        <a:ext cx="2884632" cy="1730779"/>
      </dsp:txXfrm>
    </dsp:sp>
    <dsp:sp modelId="{7E2B0E36-7A26-4E95-9AB8-2FACAD75F144}">
      <dsp:nvSpPr>
        <dsp:cNvPr id="0" name=""/>
        <dsp:cNvSpPr/>
      </dsp:nvSpPr>
      <dsp:spPr>
        <a:xfrm>
          <a:off x="4481770" y="1436"/>
          <a:ext cx="2884632" cy="173077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a:t>Deployment and configuration management</a:t>
          </a:r>
        </a:p>
      </dsp:txBody>
      <dsp:txXfrm>
        <a:off x="4481770" y="1436"/>
        <a:ext cx="2884632" cy="1730779"/>
      </dsp:txXfrm>
    </dsp:sp>
    <dsp:sp modelId="{749C5371-7439-4224-8E3B-DDBA1962E7BC}">
      <dsp:nvSpPr>
        <dsp:cNvPr id="0" name=""/>
        <dsp:cNvSpPr/>
      </dsp:nvSpPr>
      <dsp:spPr>
        <a:xfrm>
          <a:off x="1351857" y="2019606"/>
          <a:ext cx="2884632" cy="173077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a:t>Security and protection</a:t>
          </a:r>
        </a:p>
      </dsp:txBody>
      <dsp:txXfrm>
        <a:off x="1351857" y="2019606"/>
        <a:ext cx="2884632" cy="1730779"/>
      </dsp:txXfrm>
    </dsp:sp>
    <dsp:sp modelId="{018490D3-1E6A-4297-881C-1ADF4276B8D8}">
      <dsp:nvSpPr>
        <dsp:cNvPr id="0" name=""/>
        <dsp:cNvSpPr/>
      </dsp:nvSpPr>
      <dsp:spPr>
        <a:xfrm>
          <a:off x="4481770" y="2020679"/>
          <a:ext cx="2884632" cy="173077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a:t>VM operations and management</a:t>
          </a:r>
        </a:p>
      </dsp:txBody>
      <dsp:txXfrm>
        <a:off x="4481770" y="2020679"/>
        <a:ext cx="2884632" cy="17307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B5901B-133B-451C-9727-A4C9ABB64192}">
      <dsp:nvSpPr>
        <dsp:cNvPr id="0" name=""/>
        <dsp:cNvSpPr/>
      </dsp:nvSpPr>
      <dsp:spPr>
        <a:xfrm>
          <a:off x="-7071776" y="-1081144"/>
          <a:ext cx="8416616" cy="8416616"/>
        </a:xfrm>
        <a:prstGeom prst="blockArc">
          <a:avLst>
            <a:gd name="adj1" fmla="val 18900000"/>
            <a:gd name="adj2" fmla="val 2700000"/>
            <a:gd name="adj3" fmla="val 257"/>
          </a:avLst>
        </a:prstGeom>
        <a:noFill/>
        <a:ln w="10795" cap="flat" cmpd="sng" algn="ctr">
          <a:solidFill>
            <a:schemeClr val="accent6">
              <a:hueOff val="0"/>
              <a:satOff val="0"/>
              <a:lumOff val="0"/>
              <a:alphaOff val="0"/>
            </a:schemeClr>
          </a:solidFill>
          <a:prstDash val="solid"/>
        </a:ln>
        <a:effectLst/>
        <a:sp3d z="-25400" prstMaterial="plastic"/>
      </dsp:spPr>
      <dsp:style>
        <a:lnRef idx="2">
          <a:scrgbClr r="0" g="0" b="0"/>
        </a:lnRef>
        <a:fillRef idx="0">
          <a:scrgbClr r="0" g="0" b="0"/>
        </a:fillRef>
        <a:effectRef idx="0">
          <a:scrgbClr r="0" g="0" b="0"/>
        </a:effectRef>
        <a:fontRef idx="minor">
          <a:schemeClr val="tx1"/>
        </a:fontRef>
      </dsp:style>
    </dsp:sp>
    <dsp:sp modelId="{0D6847B1-052F-400F-9949-9B294FB77328}">
      <dsp:nvSpPr>
        <dsp:cNvPr id="0" name=""/>
        <dsp:cNvSpPr/>
      </dsp:nvSpPr>
      <dsp:spPr>
        <a:xfrm>
          <a:off x="500658" y="329352"/>
          <a:ext cx="8152880" cy="658455"/>
        </a:xfrm>
        <a:prstGeom prst="rect">
          <a:avLst/>
        </a:prstGeom>
        <a:solidFill>
          <a:schemeClr val="accent5">
            <a:hueOff val="0"/>
            <a:satOff val="0"/>
            <a:lumOff val="0"/>
            <a:alphaOff val="0"/>
          </a:schemeClr>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522649"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t>General Purpose</a:t>
          </a:r>
        </a:p>
      </dsp:txBody>
      <dsp:txXfrm>
        <a:off x="500658" y="329352"/>
        <a:ext cx="8152880" cy="658455"/>
      </dsp:txXfrm>
    </dsp:sp>
    <dsp:sp modelId="{8D71C7AD-CDF5-4159-B1C4-3267C854FEA2}">
      <dsp:nvSpPr>
        <dsp:cNvPr id="0" name=""/>
        <dsp:cNvSpPr/>
      </dsp:nvSpPr>
      <dsp:spPr>
        <a:xfrm>
          <a:off x="89124" y="247045"/>
          <a:ext cx="823069" cy="823069"/>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sp3d z="152400" prstMaterial="plastic">
          <a:bevelT w="25400" h="25400"/>
          <a:bevelB w="25400" h="25400"/>
        </a:sp3d>
      </dsp:spPr>
      <dsp:style>
        <a:lnRef idx="1">
          <a:scrgbClr r="0" g="0" b="0"/>
        </a:lnRef>
        <a:fillRef idx="1">
          <a:scrgbClr r="0" g="0" b="0"/>
        </a:fillRef>
        <a:effectRef idx="2">
          <a:scrgbClr r="0" g="0" b="0"/>
        </a:effectRef>
        <a:fontRef idx="minor"/>
      </dsp:style>
    </dsp:sp>
    <dsp:sp modelId="{7F3FFC2D-E458-4187-9F4B-D16453E97210}">
      <dsp:nvSpPr>
        <dsp:cNvPr id="0" name=""/>
        <dsp:cNvSpPr/>
      </dsp:nvSpPr>
      <dsp:spPr>
        <a:xfrm>
          <a:off x="1042283" y="1316911"/>
          <a:ext cx="7611256" cy="658455"/>
        </a:xfrm>
        <a:prstGeom prst="rect">
          <a:avLst/>
        </a:prstGeom>
        <a:solidFill>
          <a:schemeClr val="accent5">
            <a:hueOff val="-1877111"/>
            <a:satOff val="-182"/>
            <a:lumOff val="3411"/>
            <a:alphaOff val="0"/>
          </a:schemeClr>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522649"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t>Compute Optimized</a:t>
          </a:r>
        </a:p>
      </dsp:txBody>
      <dsp:txXfrm>
        <a:off x="1042283" y="1316911"/>
        <a:ext cx="7611256" cy="658455"/>
      </dsp:txXfrm>
    </dsp:sp>
    <dsp:sp modelId="{6C9E2756-E42C-4269-AEE8-FB6D61F5F452}">
      <dsp:nvSpPr>
        <dsp:cNvPr id="0" name=""/>
        <dsp:cNvSpPr/>
      </dsp:nvSpPr>
      <dsp:spPr>
        <a:xfrm>
          <a:off x="630748" y="1234604"/>
          <a:ext cx="823069" cy="823069"/>
        </a:xfrm>
        <a:prstGeom prst="ellipse">
          <a:avLst/>
        </a:prstGeom>
        <a:solidFill>
          <a:schemeClr val="lt1">
            <a:hueOff val="0"/>
            <a:satOff val="0"/>
            <a:lumOff val="0"/>
            <a:alphaOff val="0"/>
          </a:schemeClr>
        </a:solidFill>
        <a:ln w="9525" cap="flat" cmpd="sng" algn="ctr">
          <a:solidFill>
            <a:schemeClr val="accent5">
              <a:hueOff val="-1877111"/>
              <a:satOff val="-182"/>
              <a:lumOff val="3411"/>
              <a:alphaOff val="0"/>
            </a:schemeClr>
          </a:solidFill>
          <a:prstDash val="solid"/>
        </a:ln>
        <a:effectLst/>
        <a:sp3d z="152400" prstMaterial="plastic">
          <a:bevelT w="25400" h="25400"/>
          <a:bevelB w="25400" h="25400"/>
        </a:sp3d>
      </dsp:spPr>
      <dsp:style>
        <a:lnRef idx="1">
          <a:scrgbClr r="0" g="0" b="0"/>
        </a:lnRef>
        <a:fillRef idx="1">
          <a:scrgbClr r="0" g="0" b="0"/>
        </a:fillRef>
        <a:effectRef idx="2">
          <a:scrgbClr r="0" g="0" b="0"/>
        </a:effectRef>
        <a:fontRef idx="minor"/>
      </dsp:style>
    </dsp:sp>
    <dsp:sp modelId="{D3633B5F-F65D-4125-BF62-E288B8BAC066}">
      <dsp:nvSpPr>
        <dsp:cNvPr id="0" name=""/>
        <dsp:cNvSpPr/>
      </dsp:nvSpPr>
      <dsp:spPr>
        <a:xfrm>
          <a:off x="1289955" y="2304469"/>
          <a:ext cx="7363584" cy="658455"/>
        </a:xfrm>
        <a:prstGeom prst="rect">
          <a:avLst/>
        </a:prstGeom>
        <a:solidFill>
          <a:schemeClr val="accent5">
            <a:hueOff val="-3754222"/>
            <a:satOff val="-364"/>
            <a:lumOff val="6823"/>
            <a:alphaOff val="0"/>
          </a:schemeClr>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522649"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t>Memory Optimized</a:t>
          </a:r>
        </a:p>
      </dsp:txBody>
      <dsp:txXfrm>
        <a:off x="1289955" y="2304469"/>
        <a:ext cx="7363584" cy="658455"/>
      </dsp:txXfrm>
    </dsp:sp>
    <dsp:sp modelId="{CB1716DE-D4DA-4725-B8FE-BDE14F63BFB5}">
      <dsp:nvSpPr>
        <dsp:cNvPr id="0" name=""/>
        <dsp:cNvSpPr/>
      </dsp:nvSpPr>
      <dsp:spPr>
        <a:xfrm>
          <a:off x="878420" y="2222162"/>
          <a:ext cx="823069" cy="823069"/>
        </a:xfrm>
        <a:prstGeom prst="ellipse">
          <a:avLst/>
        </a:prstGeom>
        <a:solidFill>
          <a:schemeClr val="lt1">
            <a:hueOff val="0"/>
            <a:satOff val="0"/>
            <a:lumOff val="0"/>
            <a:alphaOff val="0"/>
          </a:schemeClr>
        </a:solidFill>
        <a:ln w="9525" cap="flat" cmpd="sng" algn="ctr">
          <a:solidFill>
            <a:schemeClr val="accent5">
              <a:hueOff val="-3754222"/>
              <a:satOff val="-364"/>
              <a:lumOff val="6823"/>
              <a:alphaOff val="0"/>
            </a:schemeClr>
          </a:solidFill>
          <a:prstDash val="solid"/>
        </a:ln>
        <a:effectLst/>
        <a:sp3d z="152400" prstMaterial="plastic">
          <a:bevelT w="25400" h="25400"/>
          <a:bevelB w="25400" h="25400"/>
        </a:sp3d>
      </dsp:spPr>
      <dsp:style>
        <a:lnRef idx="1">
          <a:scrgbClr r="0" g="0" b="0"/>
        </a:lnRef>
        <a:fillRef idx="1">
          <a:scrgbClr r="0" g="0" b="0"/>
        </a:fillRef>
        <a:effectRef idx="2">
          <a:scrgbClr r="0" g="0" b="0"/>
        </a:effectRef>
        <a:fontRef idx="minor"/>
      </dsp:style>
    </dsp:sp>
    <dsp:sp modelId="{3CA88B6D-4A05-4AC9-803E-E81629862958}">
      <dsp:nvSpPr>
        <dsp:cNvPr id="0" name=""/>
        <dsp:cNvSpPr/>
      </dsp:nvSpPr>
      <dsp:spPr>
        <a:xfrm>
          <a:off x="1289955" y="3291402"/>
          <a:ext cx="7363584" cy="658455"/>
        </a:xfrm>
        <a:prstGeom prst="rect">
          <a:avLst/>
        </a:prstGeom>
        <a:solidFill>
          <a:schemeClr val="accent5">
            <a:hueOff val="-5631333"/>
            <a:satOff val="-547"/>
            <a:lumOff val="10234"/>
            <a:alphaOff val="0"/>
          </a:schemeClr>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522649"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t>Storage Optimized</a:t>
          </a:r>
        </a:p>
      </dsp:txBody>
      <dsp:txXfrm>
        <a:off x="1289955" y="3291402"/>
        <a:ext cx="7363584" cy="658455"/>
      </dsp:txXfrm>
    </dsp:sp>
    <dsp:sp modelId="{42B50AA0-4063-4130-90E7-8AC1DA2207C2}">
      <dsp:nvSpPr>
        <dsp:cNvPr id="0" name=""/>
        <dsp:cNvSpPr/>
      </dsp:nvSpPr>
      <dsp:spPr>
        <a:xfrm>
          <a:off x="878420" y="3209095"/>
          <a:ext cx="823069" cy="823069"/>
        </a:xfrm>
        <a:prstGeom prst="ellipse">
          <a:avLst/>
        </a:prstGeom>
        <a:solidFill>
          <a:schemeClr val="lt1">
            <a:hueOff val="0"/>
            <a:satOff val="0"/>
            <a:lumOff val="0"/>
            <a:alphaOff val="0"/>
          </a:schemeClr>
        </a:solidFill>
        <a:ln w="9525" cap="flat" cmpd="sng" algn="ctr">
          <a:solidFill>
            <a:schemeClr val="accent5">
              <a:hueOff val="-5631333"/>
              <a:satOff val="-547"/>
              <a:lumOff val="10234"/>
              <a:alphaOff val="0"/>
            </a:schemeClr>
          </a:solidFill>
          <a:prstDash val="solid"/>
        </a:ln>
        <a:effectLst/>
        <a:sp3d z="152400" prstMaterial="plastic">
          <a:bevelT w="25400" h="25400"/>
          <a:bevelB w="25400" h="25400"/>
        </a:sp3d>
      </dsp:spPr>
      <dsp:style>
        <a:lnRef idx="1">
          <a:scrgbClr r="0" g="0" b="0"/>
        </a:lnRef>
        <a:fillRef idx="1">
          <a:scrgbClr r="0" g="0" b="0"/>
        </a:fillRef>
        <a:effectRef idx="2">
          <a:scrgbClr r="0" g="0" b="0"/>
        </a:effectRef>
        <a:fontRef idx="minor"/>
      </dsp:style>
    </dsp:sp>
    <dsp:sp modelId="{2D97F427-A168-45EE-BBF1-B29EB0EB7690}">
      <dsp:nvSpPr>
        <dsp:cNvPr id="0" name=""/>
        <dsp:cNvSpPr/>
      </dsp:nvSpPr>
      <dsp:spPr>
        <a:xfrm>
          <a:off x="1042283" y="4278961"/>
          <a:ext cx="7611256" cy="658455"/>
        </a:xfrm>
        <a:prstGeom prst="rect">
          <a:avLst/>
        </a:prstGeom>
        <a:solidFill>
          <a:schemeClr val="accent5">
            <a:hueOff val="-7508444"/>
            <a:satOff val="-729"/>
            <a:lumOff val="13646"/>
            <a:alphaOff val="0"/>
          </a:schemeClr>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522649"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t>GPU</a:t>
          </a:r>
        </a:p>
      </dsp:txBody>
      <dsp:txXfrm>
        <a:off x="1042283" y="4278961"/>
        <a:ext cx="7611256" cy="658455"/>
      </dsp:txXfrm>
    </dsp:sp>
    <dsp:sp modelId="{398FD6C1-79CB-45B8-A0C6-86469819DE13}">
      <dsp:nvSpPr>
        <dsp:cNvPr id="0" name=""/>
        <dsp:cNvSpPr/>
      </dsp:nvSpPr>
      <dsp:spPr>
        <a:xfrm>
          <a:off x="630748" y="4196654"/>
          <a:ext cx="823069" cy="823069"/>
        </a:xfrm>
        <a:prstGeom prst="ellipse">
          <a:avLst/>
        </a:prstGeom>
        <a:solidFill>
          <a:schemeClr val="lt1">
            <a:hueOff val="0"/>
            <a:satOff val="0"/>
            <a:lumOff val="0"/>
            <a:alphaOff val="0"/>
          </a:schemeClr>
        </a:solidFill>
        <a:ln w="9525" cap="flat" cmpd="sng" algn="ctr">
          <a:solidFill>
            <a:schemeClr val="accent5">
              <a:hueOff val="-7508444"/>
              <a:satOff val="-729"/>
              <a:lumOff val="13646"/>
              <a:alphaOff val="0"/>
            </a:schemeClr>
          </a:solidFill>
          <a:prstDash val="solid"/>
        </a:ln>
        <a:effectLst/>
        <a:sp3d z="152400" prstMaterial="plastic">
          <a:bevelT w="25400" h="25400"/>
          <a:bevelB w="25400" h="25400"/>
        </a:sp3d>
      </dsp:spPr>
      <dsp:style>
        <a:lnRef idx="1">
          <a:scrgbClr r="0" g="0" b="0"/>
        </a:lnRef>
        <a:fillRef idx="1">
          <a:scrgbClr r="0" g="0" b="0"/>
        </a:fillRef>
        <a:effectRef idx="2">
          <a:scrgbClr r="0" g="0" b="0"/>
        </a:effectRef>
        <a:fontRef idx="minor"/>
      </dsp:style>
    </dsp:sp>
    <dsp:sp modelId="{FD2ABE94-AF24-48DC-8D43-F883ECB98759}">
      <dsp:nvSpPr>
        <dsp:cNvPr id="0" name=""/>
        <dsp:cNvSpPr/>
      </dsp:nvSpPr>
      <dsp:spPr>
        <a:xfrm>
          <a:off x="500658" y="5266519"/>
          <a:ext cx="8152880" cy="658455"/>
        </a:xfrm>
        <a:prstGeom prst="rect">
          <a:avLst/>
        </a:prstGeom>
        <a:solidFill>
          <a:schemeClr val="accent5">
            <a:hueOff val="-9385555"/>
            <a:satOff val="-911"/>
            <a:lumOff val="17057"/>
            <a:alphaOff val="0"/>
          </a:schemeClr>
        </a:solidFill>
        <a:ln>
          <a:noFill/>
        </a:ln>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522649"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t>High Performance Compute </a:t>
          </a:r>
        </a:p>
      </dsp:txBody>
      <dsp:txXfrm>
        <a:off x="500658" y="5266519"/>
        <a:ext cx="8152880" cy="658455"/>
      </dsp:txXfrm>
    </dsp:sp>
    <dsp:sp modelId="{BEFF1E9A-92D1-4C5A-A536-FAEB7B3685F1}">
      <dsp:nvSpPr>
        <dsp:cNvPr id="0" name=""/>
        <dsp:cNvSpPr/>
      </dsp:nvSpPr>
      <dsp:spPr>
        <a:xfrm>
          <a:off x="89124" y="5184212"/>
          <a:ext cx="823069" cy="823069"/>
        </a:xfrm>
        <a:prstGeom prst="ellipse">
          <a:avLst/>
        </a:prstGeom>
        <a:solidFill>
          <a:schemeClr val="lt1">
            <a:hueOff val="0"/>
            <a:satOff val="0"/>
            <a:lumOff val="0"/>
            <a:alphaOff val="0"/>
          </a:schemeClr>
        </a:solidFill>
        <a:ln w="9525" cap="flat" cmpd="sng" algn="ctr">
          <a:solidFill>
            <a:schemeClr val="accent5">
              <a:hueOff val="-9385555"/>
              <a:satOff val="-911"/>
              <a:lumOff val="17057"/>
              <a:alphaOff val="0"/>
            </a:schemeClr>
          </a:solidFill>
          <a:prstDash val="solid"/>
        </a:ln>
        <a:effectLst/>
        <a:sp3d z="152400" prstMaterial="plastic">
          <a:bevelT w="25400" h="25400"/>
          <a:bevelB w="25400" h="25400"/>
        </a:sp3d>
      </dsp:spPr>
      <dsp:style>
        <a:lnRef idx="1">
          <a:scrgbClr r="0" g="0" b="0"/>
        </a:lnRef>
        <a:fillRef idx="1">
          <a:scrgbClr r="0" g="0" b="0"/>
        </a:fillRef>
        <a:effectRef idx="2">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D4A05A-AB1D-458F-8055-753772ABFE2A}">
      <dsp:nvSpPr>
        <dsp:cNvPr id="0" name=""/>
        <dsp:cNvSpPr/>
      </dsp:nvSpPr>
      <dsp:spPr>
        <a:xfrm>
          <a:off x="0" y="178208"/>
          <a:ext cx="11642476" cy="73469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latin typeface="+mj-lt"/>
            </a:rPr>
            <a:t>Cloud-only</a:t>
          </a:r>
        </a:p>
      </dsp:txBody>
      <dsp:txXfrm>
        <a:off x="35865" y="214073"/>
        <a:ext cx="11570746" cy="662961"/>
      </dsp:txXfrm>
    </dsp:sp>
    <dsp:sp modelId="{3E43F3D1-C321-40EB-A66F-5B096BFD6A15}">
      <dsp:nvSpPr>
        <dsp:cNvPr id="0" name=""/>
        <dsp:cNvSpPr/>
      </dsp:nvSpPr>
      <dsp:spPr>
        <a:xfrm>
          <a:off x="0" y="912885"/>
          <a:ext cx="11642476"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64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0" i="0" kern="1200">
              <a:latin typeface="+mn-lt"/>
            </a:rPr>
            <a:t>This implementation does not leverage </a:t>
          </a:r>
          <a:r>
            <a:rPr lang="en-US" sz="2000" b="0" i="0" kern="1200" err="1">
              <a:latin typeface="+mn-lt"/>
            </a:rPr>
            <a:t>VNet</a:t>
          </a:r>
          <a:r>
            <a:rPr lang="en-US" sz="2000" b="0" i="0" kern="1200">
              <a:latin typeface="+mn-lt"/>
            </a:rPr>
            <a:t> gateways to connect back to the on-premises network or to other Azure </a:t>
          </a:r>
          <a:r>
            <a:rPr lang="en-US" sz="2000" b="0" i="0" kern="1200" err="1">
              <a:latin typeface="+mn-lt"/>
            </a:rPr>
            <a:t>VNets</a:t>
          </a:r>
          <a:r>
            <a:rPr lang="en-US" sz="2000" b="0" i="0" kern="1200">
              <a:latin typeface="+mn-lt"/>
            </a:rPr>
            <a:t>. Connection to VMs is obtained through the public endpoints, rather than through a VPN connection</a:t>
          </a:r>
          <a:r>
            <a:rPr lang="en-US" sz="1800" kern="1200">
              <a:latin typeface="+mj-lt"/>
            </a:rPr>
            <a:t>.</a:t>
          </a:r>
        </a:p>
      </dsp:txBody>
      <dsp:txXfrm>
        <a:off x="0" y="912885"/>
        <a:ext cx="11642476" cy="1076400"/>
      </dsp:txXfrm>
    </dsp:sp>
    <dsp:sp modelId="{388508F6-7DB9-4CD3-81E7-370281608380}">
      <dsp:nvSpPr>
        <dsp:cNvPr id="0" name=""/>
        <dsp:cNvSpPr/>
      </dsp:nvSpPr>
      <dsp:spPr>
        <a:xfrm>
          <a:off x="0" y="1835676"/>
          <a:ext cx="11642476" cy="73915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latin typeface="+mj-lt"/>
            </a:rPr>
            <a:t>Cross-premises</a:t>
          </a:r>
        </a:p>
      </dsp:txBody>
      <dsp:txXfrm>
        <a:off x="36083" y="1871759"/>
        <a:ext cx="11570310" cy="666991"/>
      </dsp:txXfrm>
    </dsp:sp>
    <dsp:sp modelId="{9E15239A-812B-412B-9FBA-14C8836D05BE}">
      <dsp:nvSpPr>
        <dsp:cNvPr id="0" name=""/>
        <dsp:cNvSpPr/>
      </dsp:nvSpPr>
      <dsp:spPr>
        <a:xfrm>
          <a:off x="0" y="2574834"/>
          <a:ext cx="11642476" cy="1883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64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0" i="0" kern="1200" dirty="0">
              <a:solidFill>
                <a:srgbClr val="505050">
                  <a:hueOff val="0"/>
                  <a:satOff val="0"/>
                  <a:lumOff val="0"/>
                  <a:alphaOff val="0"/>
                </a:srgbClr>
              </a:solidFill>
              <a:latin typeface="Segoe UI"/>
              <a:ea typeface="+mn-ea"/>
              <a:cs typeface="+mn-cs"/>
            </a:rPr>
            <a:t>This implementation offers grater flexibility as multi-site, VNet-to-VNet, and ExpressRoute configurations offer the needed flexibility to extend the on-premises network to the cloud and extend to multiple networks in Azure. Most cross-premises connectivity involve a VPN device for a secure connection with the VNet, however, a direct connection using ExpressRoute can be obtained to Azure and bypass the internet altogether. </a:t>
          </a:r>
          <a:r>
            <a:rPr lang="en-US" sz="2000" b="0" i="0" kern="1200" dirty="0">
              <a:solidFill>
                <a:srgbClr val="FF0000"/>
              </a:solidFill>
              <a:latin typeface="Segoe UI"/>
              <a:ea typeface="+mn-ea"/>
              <a:cs typeface="+mn-cs"/>
            </a:rPr>
            <a:t>Covered more in the Networking Workshop</a:t>
          </a:r>
        </a:p>
      </dsp:txBody>
      <dsp:txXfrm>
        <a:off x="0" y="2574834"/>
        <a:ext cx="11642476" cy="18837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2FB671-AD53-486D-A705-94CA5DD85672}">
      <dsp:nvSpPr>
        <dsp:cNvPr id="0" name=""/>
        <dsp:cNvSpPr/>
      </dsp:nvSpPr>
      <dsp:spPr>
        <a:xfrm>
          <a:off x="2329276" y="1432819"/>
          <a:ext cx="1751223" cy="1751223"/>
        </a:xfrm>
        <a:prstGeom prst="gear9">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r>
            <a:rPr lang="en-US" sz="3500" kern="1200" dirty="0"/>
            <a:t>  </a:t>
          </a:r>
        </a:p>
      </dsp:txBody>
      <dsp:txXfrm>
        <a:off x="2681350" y="1843035"/>
        <a:ext cx="1047075" cy="900164"/>
      </dsp:txXfrm>
    </dsp:sp>
    <dsp:sp modelId="{4E82B5D5-CAF5-40BB-BCAC-B9F28B4BDDB5}">
      <dsp:nvSpPr>
        <dsp:cNvPr id="0" name=""/>
        <dsp:cNvSpPr/>
      </dsp:nvSpPr>
      <dsp:spPr>
        <a:xfrm>
          <a:off x="1310382" y="1018893"/>
          <a:ext cx="1273617" cy="1273617"/>
        </a:xfrm>
        <a:prstGeom prst="gear6">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r>
            <a:rPr lang="en-US" sz="3500" kern="1200" dirty="0"/>
            <a:t>  </a:t>
          </a:r>
        </a:p>
      </dsp:txBody>
      <dsp:txXfrm>
        <a:off x="1631019" y="1341468"/>
        <a:ext cx="632343" cy="628467"/>
      </dsp:txXfrm>
    </dsp:sp>
    <dsp:sp modelId="{A39546F2-9FAB-4A00-8F6B-FB86749E9053}">
      <dsp:nvSpPr>
        <dsp:cNvPr id="0" name=""/>
        <dsp:cNvSpPr/>
      </dsp:nvSpPr>
      <dsp:spPr>
        <a:xfrm rot="20700000">
          <a:off x="2023738" y="140227"/>
          <a:ext cx="1247884" cy="1247884"/>
        </a:xfrm>
        <a:prstGeom prst="gear6">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r>
            <a:rPr lang="en-US" sz="3500" kern="1200" dirty="0"/>
            <a:t> </a:t>
          </a:r>
        </a:p>
      </dsp:txBody>
      <dsp:txXfrm rot="-20700000">
        <a:off x="2297435" y="413925"/>
        <a:ext cx="700489" cy="700489"/>
      </dsp:txXfrm>
    </dsp:sp>
    <dsp:sp modelId="{8A203D09-99F0-4252-9570-0D5AB679917F}">
      <dsp:nvSpPr>
        <dsp:cNvPr id="0" name=""/>
        <dsp:cNvSpPr/>
      </dsp:nvSpPr>
      <dsp:spPr>
        <a:xfrm>
          <a:off x="2183851" y="1174631"/>
          <a:ext cx="2241566" cy="2241566"/>
        </a:xfrm>
        <a:prstGeom prst="circularArrow">
          <a:avLst>
            <a:gd name="adj1" fmla="val 4687"/>
            <a:gd name="adj2" fmla="val 299029"/>
            <a:gd name="adj3" fmla="val 2486056"/>
            <a:gd name="adj4" fmla="val 15927734"/>
            <a:gd name="adj5" fmla="val 5469"/>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4B55EB-D001-4E25-8426-32EF3F2B1E81}">
      <dsp:nvSpPr>
        <dsp:cNvPr id="0" name=""/>
        <dsp:cNvSpPr/>
      </dsp:nvSpPr>
      <dsp:spPr>
        <a:xfrm>
          <a:off x="1084827" y="741426"/>
          <a:ext cx="1628637" cy="1628637"/>
        </a:xfrm>
        <a:prstGeom prst="leftCircularArrow">
          <a:avLst>
            <a:gd name="adj1" fmla="val 6452"/>
            <a:gd name="adj2" fmla="val 429999"/>
            <a:gd name="adj3" fmla="val 10489124"/>
            <a:gd name="adj4" fmla="val 14837806"/>
            <a:gd name="adj5" fmla="val 7527"/>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90F897C-A9C3-4867-97AC-22651FB9D316}">
      <dsp:nvSpPr>
        <dsp:cNvPr id="0" name=""/>
        <dsp:cNvSpPr/>
      </dsp:nvSpPr>
      <dsp:spPr>
        <a:xfrm>
          <a:off x="1735089" y="-128770"/>
          <a:ext cx="1755999" cy="1755999"/>
        </a:xfrm>
        <a:prstGeom prst="circularArrow">
          <a:avLst>
            <a:gd name="adj1" fmla="val 5984"/>
            <a:gd name="adj2" fmla="val 394124"/>
            <a:gd name="adj3" fmla="val 13313824"/>
            <a:gd name="adj4" fmla="val 10508221"/>
            <a:gd name="adj5" fmla="val 6981"/>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6F1AA0-2ADA-41BF-B9C7-9C84064123F2}">
      <dsp:nvSpPr>
        <dsp:cNvPr id="0" name=""/>
        <dsp:cNvSpPr/>
      </dsp:nvSpPr>
      <dsp:spPr>
        <a:xfrm>
          <a:off x="4229" y="258889"/>
          <a:ext cx="2163632" cy="3471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904" tIns="43180" rIns="120904" bIns="43180" numCol="1" spcCol="1270" anchor="ctr" anchorCtr="0">
          <a:noAutofit/>
        </a:bodyPr>
        <a:lstStyle/>
        <a:p>
          <a:pPr marL="0" lvl="0" indent="0" algn="r" defTabSz="755650">
            <a:lnSpc>
              <a:spcPct val="90000"/>
            </a:lnSpc>
            <a:spcBef>
              <a:spcPct val="0"/>
            </a:spcBef>
            <a:spcAft>
              <a:spcPct val="35000"/>
            </a:spcAft>
            <a:buNone/>
          </a:pPr>
          <a:r>
            <a:rPr lang="en-US" sz="1700" kern="1200"/>
            <a:t>Image families</a:t>
          </a:r>
        </a:p>
      </dsp:txBody>
      <dsp:txXfrm>
        <a:off x="4229" y="258889"/>
        <a:ext cx="2163632" cy="347118"/>
      </dsp:txXfrm>
    </dsp:sp>
    <dsp:sp modelId="{D4F7CA77-DFAF-45CB-ABD2-97A8F01ACD75}">
      <dsp:nvSpPr>
        <dsp:cNvPr id="0" name=""/>
        <dsp:cNvSpPr/>
      </dsp:nvSpPr>
      <dsp:spPr>
        <a:xfrm>
          <a:off x="2167861" y="107025"/>
          <a:ext cx="432726" cy="650847"/>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1BA6EEF-BB6F-464D-ADE3-715ABBEBFB5E}">
      <dsp:nvSpPr>
        <dsp:cNvPr id="0" name=""/>
        <dsp:cNvSpPr/>
      </dsp:nvSpPr>
      <dsp:spPr>
        <a:xfrm>
          <a:off x="2773678" y="107025"/>
          <a:ext cx="5885079" cy="65084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171450" lvl="1" indent="-171450" algn="l" defTabSz="755650">
            <a:lnSpc>
              <a:spcPct val="90000"/>
            </a:lnSpc>
            <a:spcBef>
              <a:spcPct val="0"/>
            </a:spcBef>
            <a:spcAft>
              <a:spcPct val="15000"/>
            </a:spcAft>
            <a:buChar char="•"/>
          </a:pPr>
          <a:r>
            <a:rPr lang="en-US" sz="1700" kern="1200"/>
            <a:t>VHDs managed and supported by Microsoft. Some may include pre-installed software and configuration. </a:t>
          </a:r>
        </a:p>
      </dsp:txBody>
      <dsp:txXfrm>
        <a:off x="2773678" y="107025"/>
        <a:ext cx="5885079" cy="650847"/>
      </dsp:txXfrm>
    </dsp:sp>
    <dsp:sp modelId="{98DE35D3-4000-43EB-94D0-C18A89259E40}">
      <dsp:nvSpPr>
        <dsp:cNvPr id="0" name=""/>
        <dsp:cNvSpPr/>
      </dsp:nvSpPr>
      <dsp:spPr>
        <a:xfrm>
          <a:off x="4229" y="1231276"/>
          <a:ext cx="2163632" cy="3471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904" tIns="43180" rIns="120904" bIns="43180" numCol="1" spcCol="1270" anchor="ctr" anchorCtr="0">
          <a:noAutofit/>
        </a:bodyPr>
        <a:lstStyle/>
        <a:p>
          <a:pPr marL="0" lvl="0" indent="0" algn="r" defTabSz="755650">
            <a:lnSpc>
              <a:spcPct val="90000"/>
            </a:lnSpc>
            <a:spcBef>
              <a:spcPct val="0"/>
            </a:spcBef>
            <a:spcAft>
              <a:spcPct val="35000"/>
            </a:spcAft>
            <a:buNone/>
          </a:pPr>
          <a:r>
            <a:rPr lang="en-US" sz="1700" kern="1200"/>
            <a:t>Partner images</a:t>
          </a:r>
        </a:p>
      </dsp:txBody>
      <dsp:txXfrm>
        <a:off x="4229" y="1231276"/>
        <a:ext cx="2163632" cy="347118"/>
      </dsp:txXfrm>
    </dsp:sp>
    <dsp:sp modelId="{4F92CA34-CFF7-4B62-AC12-9219960218FF}">
      <dsp:nvSpPr>
        <dsp:cNvPr id="0" name=""/>
        <dsp:cNvSpPr/>
      </dsp:nvSpPr>
      <dsp:spPr>
        <a:xfrm>
          <a:off x="2167861" y="819072"/>
          <a:ext cx="432726" cy="1171525"/>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B01809A-9F3A-42FD-9327-EE96E0EEAC4F}">
      <dsp:nvSpPr>
        <dsp:cNvPr id="0" name=""/>
        <dsp:cNvSpPr/>
      </dsp:nvSpPr>
      <dsp:spPr>
        <a:xfrm>
          <a:off x="2773678" y="819072"/>
          <a:ext cx="5885079" cy="11715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171450" lvl="1" indent="-171450" algn="l" defTabSz="755650">
            <a:lnSpc>
              <a:spcPct val="90000"/>
            </a:lnSpc>
            <a:spcBef>
              <a:spcPct val="0"/>
            </a:spcBef>
            <a:spcAft>
              <a:spcPct val="15000"/>
            </a:spcAft>
            <a:buChar char="•"/>
          </a:pPr>
          <a:r>
            <a:rPr lang="en-US" sz="1700" kern="1200"/>
            <a:t>VHDs uploaded by partners for application consumption by the Azure customer. VMs deployed using partner images are not deployed on the same cluster or clusters as other VM workloads. </a:t>
          </a:r>
        </a:p>
      </dsp:txBody>
      <dsp:txXfrm>
        <a:off x="2773678" y="819072"/>
        <a:ext cx="5885079" cy="1171525"/>
      </dsp:txXfrm>
    </dsp:sp>
    <dsp:sp modelId="{5227F8DD-3E3D-48E1-B5A9-33459A3530FA}">
      <dsp:nvSpPr>
        <dsp:cNvPr id="0" name=""/>
        <dsp:cNvSpPr/>
      </dsp:nvSpPr>
      <dsp:spPr>
        <a:xfrm>
          <a:off x="4229" y="2203662"/>
          <a:ext cx="2163632" cy="3471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904" tIns="43180" rIns="120904" bIns="43180" numCol="1" spcCol="1270" anchor="ctr" anchorCtr="0">
          <a:noAutofit/>
        </a:bodyPr>
        <a:lstStyle/>
        <a:p>
          <a:pPr marL="0" lvl="0" indent="0" algn="r" defTabSz="755650">
            <a:lnSpc>
              <a:spcPct val="90000"/>
            </a:lnSpc>
            <a:spcBef>
              <a:spcPct val="0"/>
            </a:spcBef>
            <a:spcAft>
              <a:spcPct val="35000"/>
            </a:spcAft>
            <a:buNone/>
          </a:pPr>
          <a:r>
            <a:rPr lang="en-US" sz="1700" kern="1200"/>
            <a:t>Latest images</a:t>
          </a:r>
        </a:p>
      </dsp:txBody>
      <dsp:txXfrm>
        <a:off x="4229" y="2203662"/>
        <a:ext cx="2163632" cy="347118"/>
      </dsp:txXfrm>
    </dsp:sp>
    <dsp:sp modelId="{7C9921C5-7AF6-47A3-9CC9-1A694D9FA311}">
      <dsp:nvSpPr>
        <dsp:cNvPr id="0" name=""/>
        <dsp:cNvSpPr/>
      </dsp:nvSpPr>
      <dsp:spPr>
        <a:xfrm>
          <a:off x="2167861" y="2051798"/>
          <a:ext cx="432726" cy="650847"/>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A99279-4F1D-432F-950F-20C99441D246}">
      <dsp:nvSpPr>
        <dsp:cNvPr id="0" name=""/>
        <dsp:cNvSpPr/>
      </dsp:nvSpPr>
      <dsp:spPr>
        <a:xfrm>
          <a:off x="2773678" y="2051798"/>
          <a:ext cx="5885079" cy="65084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171450" lvl="1" indent="-171450" algn="l" defTabSz="755650">
            <a:lnSpc>
              <a:spcPct val="90000"/>
            </a:lnSpc>
            <a:spcBef>
              <a:spcPct val="0"/>
            </a:spcBef>
            <a:spcAft>
              <a:spcPct val="15000"/>
            </a:spcAft>
            <a:buChar char="•"/>
          </a:pPr>
          <a:r>
            <a:rPr lang="en-US" sz="1700" kern="1200"/>
            <a:t>Images are kept as versions in Azure. Typically, you would want to choose the latest image.</a:t>
          </a:r>
        </a:p>
      </dsp:txBody>
      <dsp:txXfrm>
        <a:off x="2773678" y="2051798"/>
        <a:ext cx="5885079" cy="650847"/>
      </dsp:txXfrm>
    </dsp:sp>
    <dsp:sp modelId="{176667AC-1AE7-41A7-B2E0-629F43DCF76D}">
      <dsp:nvSpPr>
        <dsp:cNvPr id="0" name=""/>
        <dsp:cNvSpPr/>
      </dsp:nvSpPr>
      <dsp:spPr>
        <a:xfrm>
          <a:off x="4229" y="3045880"/>
          <a:ext cx="2163632" cy="3471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904" tIns="43180" rIns="120904" bIns="43180" numCol="1" spcCol="1270" anchor="ctr" anchorCtr="0">
          <a:noAutofit/>
        </a:bodyPr>
        <a:lstStyle/>
        <a:p>
          <a:pPr marL="0" lvl="0" indent="0" algn="r" defTabSz="755650">
            <a:lnSpc>
              <a:spcPct val="90000"/>
            </a:lnSpc>
            <a:spcBef>
              <a:spcPct val="0"/>
            </a:spcBef>
            <a:spcAft>
              <a:spcPct val="35000"/>
            </a:spcAft>
            <a:buNone/>
          </a:pPr>
          <a:r>
            <a:rPr lang="en-US" sz="1700" kern="1200"/>
            <a:t>Customized images</a:t>
          </a:r>
        </a:p>
      </dsp:txBody>
      <dsp:txXfrm>
        <a:off x="4229" y="3045880"/>
        <a:ext cx="2163632" cy="347118"/>
      </dsp:txXfrm>
    </dsp:sp>
    <dsp:sp modelId="{A9FE1331-D55F-4DFD-AC5A-416DD75E5B72}">
      <dsp:nvSpPr>
        <dsp:cNvPr id="0" name=""/>
        <dsp:cNvSpPr/>
      </dsp:nvSpPr>
      <dsp:spPr>
        <a:xfrm>
          <a:off x="2167861" y="2763846"/>
          <a:ext cx="432726" cy="911186"/>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24D8B61-F32F-4A99-8F05-BF5B8D301E30}">
      <dsp:nvSpPr>
        <dsp:cNvPr id="0" name=""/>
        <dsp:cNvSpPr/>
      </dsp:nvSpPr>
      <dsp:spPr>
        <a:xfrm>
          <a:off x="2773678" y="2763846"/>
          <a:ext cx="5885079" cy="911186"/>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171450" lvl="1" indent="-171450" algn="l" defTabSz="755650">
            <a:lnSpc>
              <a:spcPct val="90000"/>
            </a:lnSpc>
            <a:spcBef>
              <a:spcPct val="0"/>
            </a:spcBef>
            <a:spcAft>
              <a:spcPct val="15000"/>
            </a:spcAft>
            <a:buChar char="•"/>
          </a:pPr>
          <a:r>
            <a:rPr lang="en-US" sz="1700" kern="1200"/>
            <a:t>Customer uploaded VHDs to leverage their own images. This is due to internal security, standard costs, and licensing scenarios. </a:t>
          </a:r>
        </a:p>
      </dsp:txBody>
      <dsp:txXfrm>
        <a:off x="2773678" y="2763846"/>
        <a:ext cx="5885079" cy="91118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1/2018 9:27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21/2018 9:27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aka.ms/azenroll" TargetMode="External"/><Relationship Id="rId7" Type="http://schemas.openxmlformats.org/officeDocument/2006/relationships/hyperlink" Target="https://docs.microsoft.com/en-us/azure/load-balancer/load-balancer-standard-overview"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docs.microsoft.com/en-us/azure/virtual-machines/windows/attach-disk-ps#add-an-empty-data-disk-to-a-virtual-machine" TargetMode="External"/><Relationship Id="rId5" Type="http://schemas.openxmlformats.org/officeDocument/2006/relationships/hyperlink" Target="https://docs.microsoft.com/en-us/azure/virtual-machine-scale-sets/virtual-machine-scale-sets-portal-create" TargetMode="External"/><Relationship Id="rId4" Type="http://schemas.openxmlformats.org/officeDocument/2006/relationships/hyperlink" Target="https://docs.microsoft.com/en-us/azure/virtual-machines/windows/create-portal-availability-zone"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aka.ms/azenroll" TargetMode="External"/><Relationship Id="rId7" Type="http://schemas.openxmlformats.org/officeDocument/2006/relationships/hyperlink" Target="https://docs.microsoft.com/en-us/azure/load-balancer/load-balancer-standard-overview"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docs.microsoft.com/en-us/azure/virtual-machines/windows/attach-disk-ps#add-an-empty-data-disk-to-a-virtual-machine" TargetMode="External"/><Relationship Id="rId5" Type="http://schemas.openxmlformats.org/officeDocument/2006/relationships/hyperlink" Target="https://docs.microsoft.com/en-us/azure/virtual-machine-scale-sets/virtual-machine-scale-sets-portal-create" TargetMode="External"/><Relationship Id="rId4" Type="http://schemas.openxmlformats.org/officeDocument/2006/relationships/hyperlink" Target="https://docs.microsoft.com/en-us/azure/virtual-machines/windows/create-portal-availability-zone"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azure.microsoft.com/en-us/pricing/hybrid-benefi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aka.ms/Azure/Mobile"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D0596E5-6523-4DD8-A9ED-0418BD42519C}" type="datetime8">
              <a:rPr lang="en-US" smtClean="0">
                <a:solidFill>
                  <a:prstClr val="black"/>
                </a:solidFill>
              </a:rPr>
              <a:pPr/>
              <a:t>3/21/2018 9:27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8402834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494556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t>11/28/17</a:t>
            </a:r>
          </a:p>
          <a:p>
            <a:pPr rtl="0"/>
            <a:endParaRPr lang="en-US" b="1" dirty="0"/>
          </a:p>
          <a:p>
            <a:pPr rtl="0"/>
            <a:r>
              <a:rPr lang="en-US" b="1" dirty="0"/>
              <a:t>Regions that support Availability Zones</a:t>
            </a:r>
          </a:p>
          <a:p>
            <a:pPr rtl="0"/>
            <a:r>
              <a:rPr lang="en-US" dirty="0"/>
              <a:t>East US 2</a:t>
            </a:r>
          </a:p>
          <a:p>
            <a:pPr rtl="0"/>
            <a:r>
              <a:rPr lang="en-US" dirty="0"/>
              <a:t>West Europe</a:t>
            </a:r>
          </a:p>
          <a:p>
            <a:pPr rtl="0"/>
            <a:endParaRPr lang="en-US" dirty="0"/>
          </a:p>
          <a:p>
            <a:pPr rtl="0"/>
            <a:r>
              <a:rPr lang="en-US" b="1" dirty="0"/>
              <a:t>Services that support Availability Zones</a:t>
            </a:r>
          </a:p>
          <a:p>
            <a:pPr rtl="0"/>
            <a:r>
              <a:rPr lang="en-US" dirty="0"/>
              <a:t>The Azure services that support Availability Zones are:+ </a:t>
            </a:r>
          </a:p>
          <a:p>
            <a:pPr rtl="0"/>
            <a:r>
              <a:rPr lang="en-US" dirty="0"/>
              <a:t>Linux Virtual Machines</a:t>
            </a:r>
          </a:p>
          <a:p>
            <a:pPr rtl="0"/>
            <a:r>
              <a:rPr lang="en-US" dirty="0"/>
              <a:t>Windows Virtual Machines</a:t>
            </a:r>
          </a:p>
          <a:p>
            <a:pPr rtl="0"/>
            <a:r>
              <a:rPr lang="en-US" dirty="0"/>
              <a:t>Zonal Virtual Machine Scale Sets</a:t>
            </a:r>
          </a:p>
          <a:p>
            <a:pPr rtl="0"/>
            <a:r>
              <a:rPr lang="en-US" dirty="0"/>
              <a:t>Managed Disks</a:t>
            </a:r>
          </a:p>
          <a:p>
            <a:pPr rtl="0"/>
            <a:r>
              <a:rPr lang="en-US" dirty="0"/>
              <a:t>Load Balancer</a:t>
            </a:r>
          </a:p>
          <a:p>
            <a:pPr rtl="0"/>
            <a:endParaRPr lang="en-US" dirty="0"/>
          </a:p>
          <a:p>
            <a:pPr rtl="0"/>
            <a:r>
              <a:rPr lang="en-US" b="1" dirty="0"/>
              <a:t>Supported virtual machine size families</a:t>
            </a:r>
          </a:p>
          <a:p>
            <a:pPr rtl="0"/>
            <a:r>
              <a:rPr lang="en-US" dirty="0"/>
              <a:t>Av2</a:t>
            </a:r>
          </a:p>
          <a:p>
            <a:pPr rtl="0"/>
            <a:r>
              <a:rPr lang="en-US" dirty="0"/>
              <a:t>Dv2</a:t>
            </a:r>
          </a:p>
          <a:p>
            <a:pPr rtl="0"/>
            <a:r>
              <a:rPr lang="en-US" dirty="0"/>
              <a:t>DSv2</a:t>
            </a:r>
          </a:p>
          <a:p>
            <a:pPr rtl="0"/>
            <a:endParaRPr lang="en-US" dirty="0"/>
          </a:p>
          <a:p>
            <a:pPr rtl="0"/>
            <a:r>
              <a:rPr lang="en-US" b="1" dirty="0"/>
              <a:t>Get started with the Availability Zones preview</a:t>
            </a:r>
          </a:p>
          <a:p>
            <a:pPr rtl="0"/>
            <a:r>
              <a:rPr lang="en-US" dirty="0"/>
              <a:t>The Availability Zones preview is available in the East US 2 and West Europe regions for specific Azure services. + </a:t>
            </a:r>
          </a:p>
          <a:p>
            <a:pPr rtl="0"/>
            <a:r>
              <a:rPr lang="en-US" dirty="0">
                <a:hlinkClick r:id="rId3"/>
              </a:rPr>
              <a:t>Sign up for the Availability Zones preview</a:t>
            </a:r>
            <a:r>
              <a:rPr lang="en-US" dirty="0"/>
              <a:t>. </a:t>
            </a:r>
          </a:p>
          <a:p>
            <a:pPr rtl="0"/>
            <a:r>
              <a:rPr lang="en-US" dirty="0"/>
              <a:t>Sign in to your Azure subscription.</a:t>
            </a:r>
          </a:p>
          <a:p>
            <a:pPr rtl="0"/>
            <a:r>
              <a:rPr lang="en-US" dirty="0"/>
              <a:t>Choose a region that supports Availability Zones.</a:t>
            </a:r>
          </a:p>
          <a:p>
            <a:pPr rtl="0"/>
            <a:r>
              <a:rPr lang="en-US" dirty="0"/>
              <a:t>Use one of the following links to start using Availability Zones with your service. </a:t>
            </a:r>
          </a:p>
          <a:p>
            <a:pPr lvl="1" rtl="0"/>
            <a:r>
              <a:rPr lang="en-US" dirty="0">
                <a:hlinkClick r:id="rId4"/>
              </a:rPr>
              <a:t>Create a virtual machine</a:t>
            </a:r>
            <a:endParaRPr lang="en-US" dirty="0"/>
          </a:p>
          <a:p>
            <a:pPr lvl="1" rtl="0"/>
            <a:r>
              <a:rPr lang="en-US" dirty="0">
                <a:hlinkClick r:id="rId5"/>
              </a:rPr>
              <a:t>Create a zonal virtual machine scale set</a:t>
            </a:r>
            <a:endParaRPr lang="en-US" dirty="0"/>
          </a:p>
          <a:p>
            <a:pPr lvl="1" rtl="0"/>
            <a:r>
              <a:rPr lang="en-US" dirty="0">
                <a:hlinkClick r:id="rId6"/>
              </a:rPr>
              <a:t>Add a Managed Disk using PowerShell</a:t>
            </a:r>
            <a:endParaRPr lang="en-US" dirty="0"/>
          </a:p>
          <a:p>
            <a:pPr lvl="1" rtl="0"/>
            <a:r>
              <a:rPr lang="en-US" dirty="0">
                <a:hlinkClick r:id="rId7"/>
              </a:rPr>
              <a:t>Load balancer</a:t>
            </a:r>
            <a:endParaRPr lang="en-US" dirty="0"/>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4607906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t>11/28/17</a:t>
            </a:r>
          </a:p>
          <a:p>
            <a:pPr rtl="0"/>
            <a:endParaRPr lang="en-US" b="1" dirty="0"/>
          </a:p>
          <a:p>
            <a:pPr rtl="0"/>
            <a:r>
              <a:rPr lang="en-US" b="1" dirty="0"/>
              <a:t>Regions that support Availability Zones</a:t>
            </a:r>
          </a:p>
          <a:p>
            <a:pPr rtl="0"/>
            <a:r>
              <a:rPr lang="en-US" dirty="0"/>
              <a:t>East US 2</a:t>
            </a:r>
          </a:p>
          <a:p>
            <a:pPr rtl="0"/>
            <a:r>
              <a:rPr lang="en-US" dirty="0"/>
              <a:t>West Europe</a:t>
            </a:r>
          </a:p>
          <a:p>
            <a:pPr rtl="0"/>
            <a:endParaRPr lang="en-US" dirty="0"/>
          </a:p>
          <a:p>
            <a:pPr rtl="0"/>
            <a:r>
              <a:rPr lang="en-US" b="1" dirty="0"/>
              <a:t>Services that support Availability Zones</a:t>
            </a:r>
          </a:p>
          <a:p>
            <a:pPr rtl="0"/>
            <a:r>
              <a:rPr lang="en-US" dirty="0"/>
              <a:t>The Azure services that support Availability Zones are:+ </a:t>
            </a:r>
          </a:p>
          <a:p>
            <a:pPr rtl="0"/>
            <a:r>
              <a:rPr lang="en-US" dirty="0"/>
              <a:t>Linux Virtual Machines</a:t>
            </a:r>
          </a:p>
          <a:p>
            <a:pPr rtl="0"/>
            <a:r>
              <a:rPr lang="en-US" dirty="0"/>
              <a:t>Windows Virtual Machines</a:t>
            </a:r>
          </a:p>
          <a:p>
            <a:pPr rtl="0"/>
            <a:r>
              <a:rPr lang="en-US" dirty="0"/>
              <a:t>Zonal Virtual Machine Scale Sets</a:t>
            </a:r>
          </a:p>
          <a:p>
            <a:pPr rtl="0"/>
            <a:r>
              <a:rPr lang="en-US" dirty="0"/>
              <a:t>Managed Disks</a:t>
            </a:r>
          </a:p>
          <a:p>
            <a:pPr rtl="0"/>
            <a:r>
              <a:rPr lang="en-US" dirty="0"/>
              <a:t>Load Balancer</a:t>
            </a:r>
          </a:p>
          <a:p>
            <a:pPr rtl="0"/>
            <a:endParaRPr lang="en-US" dirty="0"/>
          </a:p>
          <a:p>
            <a:pPr rtl="0"/>
            <a:r>
              <a:rPr lang="en-US" b="1" dirty="0"/>
              <a:t>Supported virtual machine size families</a:t>
            </a:r>
          </a:p>
          <a:p>
            <a:pPr rtl="0"/>
            <a:r>
              <a:rPr lang="en-US" dirty="0"/>
              <a:t>Av2</a:t>
            </a:r>
          </a:p>
          <a:p>
            <a:pPr rtl="0"/>
            <a:r>
              <a:rPr lang="en-US" dirty="0"/>
              <a:t>Dv2</a:t>
            </a:r>
          </a:p>
          <a:p>
            <a:pPr rtl="0"/>
            <a:r>
              <a:rPr lang="en-US" dirty="0"/>
              <a:t>DSv2</a:t>
            </a:r>
          </a:p>
          <a:p>
            <a:pPr rtl="0"/>
            <a:endParaRPr lang="en-US" dirty="0"/>
          </a:p>
          <a:p>
            <a:pPr rtl="0"/>
            <a:r>
              <a:rPr lang="en-US" b="1" dirty="0"/>
              <a:t>Get started with the Availability Zones preview</a:t>
            </a:r>
          </a:p>
          <a:p>
            <a:pPr rtl="0"/>
            <a:r>
              <a:rPr lang="en-US" dirty="0"/>
              <a:t>The Availability Zones preview is available in the East US 2 and West Europe regions for specific Azure services. + </a:t>
            </a:r>
          </a:p>
          <a:p>
            <a:pPr rtl="0"/>
            <a:r>
              <a:rPr lang="en-US" dirty="0">
                <a:hlinkClick r:id="rId3"/>
              </a:rPr>
              <a:t>Sign up for the Availability Zones preview</a:t>
            </a:r>
            <a:r>
              <a:rPr lang="en-US" dirty="0"/>
              <a:t>. </a:t>
            </a:r>
          </a:p>
          <a:p>
            <a:pPr rtl="0"/>
            <a:r>
              <a:rPr lang="en-US" dirty="0"/>
              <a:t>Sign in to your Azure subscription.</a:t>
            </a:r>
          </a:p>
          <a:p>
            <a:pPr rtl="0"/>
            <a:r>
              <a:rPr lang="en-US" dirty="0"/>
              <a:t>Choose a region that supports Availability Zones.</a:t>
            </a:r>
          </a:p>
          <a:p>
            <a:pPr rtl="0"/>
            <a:r>
              <a:rPr lang="en-US" dirty="0"/>
              <a:t>Use one of the following links to start using Availability Zones with your service. </a:t>
            </a:r>
          </a:p>
          <a:p>
            <a:pPr lvl="1" rtl="0"/>
            <a:r>
              <a:rPr lang="en-US" dirty="0">
                <a:hlinkClick r:id="rId4"/>
              </a:rPr>
              <a:t>Create a virtual machine</a:t>
            </a:r>
            <a:endParaRPr lang="en-US" dirty="0"/>
          </a:p>
          <a:p>
            <a:pPr lvl="1" rtl="0"/>
            <a:r>
              <a:rPr lang="en-US" dirty="0">
                <a:hlinkClick r:id="rId5"/>
              </a:rPr>
              <a:t>Create a zonal virtual machine scale set</a:t>
            </a:r>
            <a:endParaRPr lang="en-US" dirty="0"/>
          </a:p>
          <a:p>
            <a:pPr lvl="1" rtl="0"/>
            <a:r>
              <a:rPr lang="en-US" dirty="0">
                <a:hlinkClick r:id="rId6"/>
              </a:rPr>
              <a:t>Add a Managed Disk using PowerShell</a:t>
            </a:r>
            <a:endParaRPr lang="en-US" dirty="0"/>
          </a:p>
          <a:p>
            <a:pPr lvl="1" rtl="0"/>
            <a:r>
              <a:rPr lang="en-US" dirty="0">
                <a:hlinkClick r:id="rId7"/>
              </a:rPr>
              <a:t>Load balancer</a:t>
            </a:r>
            <a:endParaRPr lang="en-US" dirty="0"/>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7590996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accent1"/>
                </a:solidFill>
              </a:rPr>
              <a:t>IaaS solutions store images and disks used by VMs within VHDs, which attach to the computer instance as </a:t>
            </a:r>
            <a:r>
              <a:rPr lang="en-US" sz="900" b="1" dirty="0">
                <a:solidFill>
                  <a:schemeClr val="accent1"/>
                </a:solidFill>
              </a:rPr>
              <a:t>persistent</a:t>
            </a:r>
            <a:r>
              <a:rPr lang="en-US" sz="900" dirty="0">
                <a:solidFill>
                  <a:schemeClr val="accent1"/>
                </a:solidFill>
              </a:rPr>
              <a:t> or </a:t>
            </a:r>
            <a:r>
              <a:rPr lang="en-US" sz="900" b="1" dirty="0">
                <a:solidFill>
                  <a:schemeClr val="accent1"/>
                </a:solidFill>
              </a:rPr>
              <a:t>temporary</a:t>
            </a:r>
            <a:r>
              <a:rPr lang="en-US" sz="900" dirty="0">
                <a:solidFill>
                  <a:schemeClr val="accent1"/>
                </a:solidFill>
              </a:rPr>
              <a:t> storage. VMs can have a storage account or Managed Disk. </a:t>
            </a:r>
            <a:br>
              <a:rPr lang="en-US" sz="900" dirty="0">
                <a:solidFill>
                  <a:schemeClr val="accent1"/>
                </a:solidFill>
              </a:rPr>
            </a:br>
            <a:r>
              <a:rPr lang="en-US" sz="900" dirty="0">
                <a:solidFill>
                  <a:schemeClr val="accent1"/>
                </a:solidFill>
              </a:rPr>
              <a:t>Currently Azure support only supports the </a:t>
            </a:r>
            <a:r>
              <a:rPr lang="en-US" sz="900" b="1" dirty="0">
                <a:solidFill>
                  <a:schemeClr val="accent1"/>
                </a:solidFill>
              </a:rPr>
              <a:t>fixed VHD Format</a:t>
            </a:r>
            <a:r>
              <a:rPr lang="en-US" sz="900" dirty="0">
                <a:solidFill>
                  <a:schemeClr val="accent1"/>
                </a:solidFill>
              </a:rPr>
              <a:t>.</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4088693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8978721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43002">
              <a:spcAft>
                <a:spcPts val="344"/>
              </a:spcAft>
              <a:defRPr/>
            </a:pPr>
            <a:endParaRPr lang="en-US"/>
          </a:p>
        </p:txBody>
      </p:sp>
      <p:sp>
        <p:nvSpPr>
          <p:cNvPr id="4" name="Footer Placeholder 3"/>
          <p:cNvSpPr>
            <a:spLocks noGrp="1"/>
          </p:cNvSpPr>
          <p:nvPr>
            <p:ph type="ftr" sz="quarter" idx="10"/>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21/2018</a:t>
            </a:fld>
            <a:endParaRPr lang="en-US">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4972573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a:t>NOTE:</a:t>
            </a:r>
            <a:r>
              <a:rPr lang="en-US" b="0" dirty="0"/>
              <a:t> This is a lot more behind the covers on this section.  If you want to learn it well, please review </a:t>
            </a:r>
            <a:r>
              <a:rPr lang="en-US" sz="900" b="1" i="0" u="none" strike="noStrike" kern="1200" dirty="0">
                <a:solidFill>
                  <a:schemeClr val="tx1"/>
                </a:solidFill>
                <a:effectLst/>
                <a:latin typeface="Segoe UI Light" pitchFamily="34" charset="0"/>
                <a:ea typeface="+mn-ea"/>
                <a:cs typeface="+mn-cs"/>
              </a:rPr>
              <a:t>AZR336:</a:t>
            </a:r>
            <a:r>
              <a:rPr lang="en-US" sz="900" b="0" i="0" u="none" strike="noStrike" kern="1200" dirty="0">
                <a:solidFill>
                  <a:schemeClr val="tx1"/>
                </a:solidFill>
                <a:effectLst/>
                <a:latin typeface="Segoe UI Light" pitchFamily="34" charset="0"/>
                <a:ea typeface="+mn-ea"/>
                <a:cs typeface="+mn-cs"/>
              </a:rPr>
              <a:t> VM Scale Sets – Deep dive https://techreadytv.com/TR23/session?sCode=AZR336</a:t>
            </a:r>
          </a:p>
          <a:p>
            <a:r>
              <a:rPr lang="en-US" sz="900" b="0" i="0" u="none" strike="noStrike" kern="1200" dirty="0">
                <a:solidFill>
                  <a:schemeClr val="tx1"/>
                </a:solidFill>
                <a:effectLst/>
                <a:latin typeface="Segoe UI Light" pitchFamily="34" charset="0"/>
                <a:ea typeface="+mn-ea"/>
                <a:cs typeface="+mn-cs"/>
              </a:rPr>
              <a:t>Also, many resources are stored on http://aka.ms/Azure/VMS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You should be familiar with </a:t>
            </a:r>
            <a:r>
              <a:rPr lang="en-US" sz="900" b="0" i="0" u="none" strike="noStrike" kern="1200" dirty="0" err="1">
                <a:solidFill>
                  <a:schemeClr val="tx1"/>
                </a:solidFill>
                <a:effectLst/>
                <a:latin typeface="Segoe UI Light" pitchFamily="34" charset="0"/>
                <a:ea typeface="+mn-ea"/>
                <a:cs typeface="+mn-cs"/>
              </a:rPr>
              <a:t>overvprovision</a:t>
            </a:r>
            <a:r>
              <a:rPr lang="en-US" sz="900" b="0" i="0" u="none" strike="noStrike" kern="1200" dirty="0">
                <a:solidFill>
                  <a:schemeClr val="tx1"/>
                </a:solidFill>
                <a:effectLst/>
                <a:latin typeface="Segoe UI Light" pitchFamily="34" charset="0"/>
                <a:ea typeface="+mn-ea"/>
                <a:cs typeface="+mn-cs"/>
              </a:rPr>
              <a:t> on this topic if you want to be a little deep.  It is discussed on the TR session above.  It is not included here to keep it simple!</a:t>
            </a:r>
            <a:endParaRPr lang="en-US" b="1"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4181960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448731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2466149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71567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5477270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583977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a:t>NOTE:</a:t>
            </a:r>
            <a:r>
              <a:rPr lang="en-US" b="0" dirty="0"/>
              <a:t> This is a lot more behind the covers on this section.  If you want to learn it well, please review </a:t>
            </a:r>
            <a:r>
              <a:rPr lang="en-US" sz="900" b="1" i="0" u="none" strike="noStrike" kern="1200" dirty="0">
                <a:solidFill>
                  <a:schemeClr val="tx1"/>
                </a:solidFill>
                <a:effectLst/>
                <a:latin typeface="Segoe UI Light" pitchFamily="34" charset="0"/>
                <a:ea typeface="+mn-ea"/>
                <a:cs typeface="+mn-cs"/>
              </a:rPr>
              <a:t>AZR336:</a:t>
            </a:r>
            <a:r>
              <a:rPr lang="en-US" sz="900" b="0" i="0" u="none" strike="noStrike" kern="1200" dirty="0">
                <a:solidFill>
                  <a:schemeClr val="tx1"/>
                </a:solidFill>
                <a:effectLst/>
                <a:latin typeface="Segoe UI Light" pitchFamily="34" charset="0"/>
                <a:ea typeface="+mn-ea"/>
                <a:cs typeface="+mn-cs"/>
              </a:rPr>
              <a:t> VM Scale Sets – Deep dive https://techreadytv.com/TR23/session?sCode=AZR336</a:t>
            </a:r>
          </a:p>
          <a:p>
            <a:r>
              <a:rPr lang="en-US" sz="900" b="0" i="0" u="none" strike="noStrike" kern="1200" dirty="0">
                <a:solidFill>
                  <a:schemeClr val="tx1"/>
                </a:solidFill>
                <a:effectLst/>
                <a:latin typeface="Segoe UI Light" pitchFamily="34" charset="0"/>
                <a:ea typeface="+mn-ea"/>
                <a:cs typeface="+mn-cs"/>
              </a:rPr>
              <a:t>Also, many resources are stored on http://aka.ms/Azure/VMS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You should be familiar with </a:t>
            </a:r>
            <a:r>
              <a:rPr lang="en-US" sz="900" b="0" i="0" u="none" strike="noStrike" kern="1200" dirty="0" err="1">
                <a:solidFill>
                  <a:schemeClr val="tx1"/>
                </a:solidFill>
                <a:effectLst/>
                <a:latin typeface="Segoe UI Light" pitchFamily="34" charset="0"/>
                <a:ea typeface="+mn-ea"/>
                <a:cs typeface="+mn-cs"/>
              </a:rPr>
              <a:t>overvprovision</a:t>
            </a:r>
            <a:r>
              <a:rPr lang="en-US" sz="900" b="0" i="0" u="none" strike="noStrike" kern="1200" dirty="0">
                <a:solidFill>
                  <a:schemeClr val="tx1"/>
                </a:solidFill>
                <a:effectLst/>
                <a:latin typeface="Segoe UI Light" pitchFamily="34" charset="0"/>
                <a:ea typeface="+mn-ea"/>
                <a:cs typeface="+mn-cs"/>
              </a:rPr>
              <a:t> on this topic if you want to be a little deep.  It is discussed on the TR session above.  It is not included here to keep it simple!</a:t>
            </a:r>
            <a:endParaRPr lang="en-US" b="1"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6999866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5722680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6297561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solidFill>
                  <a:schemeClr val="accent1"/>
                </a:solidFill>
              </a:rPr>
              <a:t>When deploying applications and solutions using Microsoft Azure Virtual Machines, there are various sizing configurations that are available to organizations. From a sizing perspective, each sizing series represents various properties such as:</a:t>
            </a:r>
          </a:p>
          <a:p>
            <a:endParaRPr lang="en-US" sz="750" dirty="0">
              <a:solidFill>
                <a:schemeClr val="accent1"/>
              </a:solidFill>
            </a:endParaRPr>
          </a:p>
          <a:p>
            <a:pPr marL="342900" lvl="1" indent="-342900" defTabSz="932594">
              <a:buFont typeface="Arial" panose="020B0604020202020204" pitchFamily="34" charset="0"/>
              <a:buChar char="•"/>
            </a:pPr>
            <a:r>
              <a:rPr lang="en-US" dirty="0"/>
              <a:t>Number of CPUs</a:t>
            </a:r>
          </a:p>
          <a:p>
            <a:pPr marL="342900" lvl="1" indent="-342900" defTabSz="932594">
              <a:buFont typeface="Arial" panose="020B0604020202020204" pitchFamily="34" charset="0"/>
              <a:buChar char="•"/>
            </a:pPr>
            <a:r>
              <a:rPr lang="en-US" dirty="0"/>
              <a:t>Memory allocated to each Virtual Machine</a:t>
            </a:r>
          </a:p>
          <a:p>
            <a:pPr marL="342900" lvl="1" indent="-342900" defTabSz="932594">
              <a:buFont typeface="Arial" panose="020B0604020202020204" pitchFamily="34" charset="0"/>
              <a:buChar char="•"/>
            </a:pPr>
            <a:r>
              <a:rPr lang="en-US" dirty="0"/>
              <a:t>Temporary local storage</a:t>
            </a:r>
          </a:p>
          <a:p>
            <a:pPr marL="342900" lvl="1" indent="-342900" defTabSz="932594">
              <a:buFont typeface="Arial" panose="020B0604020202020204" pitchFamily="34" charset="0"/>
              <a:buChar char="•"/>
            </a:pPr>
            <a:r>
              <a:rPr lang="en-US" dirty="0"/>
              <a:t>Allocated bandwidth for the Virtual Machine</a:t>
            </a:r>
          </a:p>
          <a:p>
            <a:pPr marL="342900" lvl="1" indent="-342900" defTabSz="932594">
              <a:buFont typeface="Arial" panose="020B0604020202020204" pitchFamily="34" charset="0"/>
              <a:buChar char="•"/>
            </a:pPr>
            <a:r>
              <a:rPr lang="en-US" dirty="0"/>
              <a:t>Maximum data disks</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7876305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accent1"/>
                </a:solidFill>
              </a:rPr>
              <a:t>Term based discounts</a:t>
            </a:r>
          </a:p>
          <a:p>
            <a:pPr marL="342900" lvl="1" indent="-342900" defTabSz="932594"/>
            <a:r>
              <a:rPr lang="en-US" sz="2000" dirty="0"/>
              <a:t>Up to 72% discount versus pay-as-you-go</a:t>
            </a:r>
          </a:p>
          <a:p>
            <a:pPr marL="342900" lvl="1" indent="-342900" defTabSz="932594"/>
            <a:r>
              <a:rPr lang="en-US" sz="2000" dirty="0"/>
              <a:t>1 or 3 year terms, windows or Linux</a:t>
            </a:r>
          </a:p>
          <a:p>
            <a:pPr marL="342900" lvl="1" indent="-342900" defTabSz="932594"/>
            <a:r>
              <a:rPr lang="en-US" sz="2000" dirty="0"/>
              <a:t>Combine with </a:t>
            </a:r>
            <a:r>
              <a:rPr lang="en-US" sz="2000" dirty="0">
                <a:hlinkClick r:id="rId3"/>
              </a:rPr>
              <a:t>Azure Hybrid Benefit</a:t>
            </a:r>
            <a:r>
              <a:rPr lang="en-US" sz="2000" dirty="0"/>
              <a:t>, save up to 82%</a:t>
            </a:r>
          </a:p>
          <a:p>
            <a:pPr marL="0" indent="0">
              <a:buNone/>
            </a:pPr>
            <a:r>
              <a:rPr lang="en-US" dirty="0">
                <a:solidFill>
                  <a:schemeClr val="accent1"/>
                </a:solidFill>
              </a:rPr>
              <a:t>Not all Azure resources have a prebuilt roles</a:t>
            </a:r>
          </a:p>
          <a:p>
            <a:pPr marL="0" indent="0">
              <a:buNone/>
            </a:pPr>
            <a:r>
              <a:rPr lang="en-US" dirty="0">
                <a:solidFill>
                  <a:schemeClr val="accent1"/>
                </a:solidFill>
              </a:rPr>
              <a:t>Custom roles allow customers to fill in the gaps</a:t>
            </a:r>
          </a:p>
          <a:p>
            <a:pPr marL="342900" lvl="1" indent="-342900" defTabSz="932594"/>
            <a:r>
              <a:rPr lang="en-US" sz="2000" dirty="0"/>
              <a:t>Copy an existing role and edit the allowed actions (or </a:t>
            </a:r>
            <a:r>
              <a:rPr lang="en-US" sz="2000" dirty="0" err="1"/>
              <a:t>NotActions</a:t>
            </a:r>
            <a:r>
              <a:rPr lang="en-US" sz="2000" dirty="0"/>
              <a:t>)</a:t>
            </a:r>
          </a:p>
          <a:p>
            <a:pPr marL="342900" lvl="1" indent="-342900" defTabSz="932594"/>
            <a:r>
              <a:rPr lang="en-US" sz="2000" dirty="0"/>
              <a:t>Create from scratch</a:t>
            </a:r>
          </a:p>
          <a:p>
            <a:pPr marL="342900" lvl="1" indent="-342900" defTabSz="932594"/>
            <a:r>
              <a:rPr lang="en-US" sz="2000" dirty="0"/>
              <a:t>Must define where the role can be assigned</a:t>
            </a:r>
          </a:p>
          <a:p>
            <a:pPr marL="342900" lvl="1" indent="-342900" defTabSz="932594"/>
            <a:r>
              <a:rPr lang="en-US" sz="2000" dirty="0"/>
              <a:t>Must apply the custom role to each subscription so it can be us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32476F-CF94-434A-824F-12A5CE879E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3095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294150-4F81-45CE-B163-38434C9A9A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48498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3697649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a:t>NOTE:</a:t>
            </a:r>
            <a:r>
              <a:rPr lang="en-US" b="0" dirty="0"/>
              <a:t> this is included for a refresh or if the majority of this audience was NOT in the Subscription Workshop. If they are good with the content, return to the menu and go to the Deployment section.</a:t>
            </a:r>
            <a:endParaRPr lang="en-US" b="1"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24046224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988692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6096355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6473661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742286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6836649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3270813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8321158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7990831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305199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21420649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ten times there is a central IT group, or else an enterprise’s subscription is managed by a third party contractor.  This is a higher level conversation, but will need to be addressed to determine who will do what.  More specifically, what department or organization will be deploying the solution.  In this case the Azure IaaS Compute. </a:t>
            </a:r>
            <a:r>
              <a:rPr lang="en-US" b="1" dirty="0"/>
              <a:t>NOTE</a:t>
            </a:r>
            <a:r>
              <a:rPr lang="en-US" b="0" dirty="0"/>
              <a:t>:  this is NOT an exact answer, but one idea.  Don’t spend a lot of time on this slide, but add it to post workshop discussions.  The company you are working with should have an offline conversation about this, if they already have not.  And then you should come back together to talk about the pros and cons of separation of duties.</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894412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Cloud Shell </a:t>
            </a:r>
          </a:p>
          <a:p>
            <a:pPr marL="342900" lvl="1" indent="-342900" defTabSz="932594"/>
            <a:r>
              <a:rPr lang="en-US" sz="2000" dirty="0"/>
              <a:t>PowerShell or Azure CLI 2.0 / BASH</a:t>
            </a:r>
          </a:p>
          <a:p>
            <a:pPr marL="342900" lvl="1" indent="-342900" defTabSz="932594"/>
            <a:r>
              <a:rPr lang="en-US" sz="2000" dirty="0"/>
              <a:t>Authenticate and run from	</a:t>
            </a:r>
          </a:p>
          <a:p>
            <a:pPr marL="511175" lvl="2" indent="-342900" defTabSz="932594"/>
            <a:r>
              <a:rPr lang="en-US" sz="1600" dirty="0"/>
              <a:t>Portal.azure.com</a:t>
            </a:r>
          </a:p>
          <a:p>
            <a:pPr marL="511175" lvl="2" indent="-342900" defTabSz="932594"/>
            <a:r>
              <a:rPr lang="en-US" sz="1600" dirty="0"/>
              <a:t>Shell.azure.com</a:t>
            </a:r>
          </a:p>
          <a:p>
            <a:pPr marL="511175" lvl="2" indent="-342900" defTabSz="932594"/>
            <a:r>
              <a:rPr lang="en-US" sz="1600" dirty="0"/>
              <a:t>Mobile App! </a:t>
            </a:r>
            <a:r>
              <a:rPr lang="en-US" sz="1600" dirty="0">
                <a:hlinkClick r:id="rId3"/>
              </a:rPr>
              <a:t>aka.ms/Azure/Mobile</a:t>
            </a:r>
            <a:r>
              <a:rPr lang="en-US" sz="1600" dirty="0"/>
              <a:t> </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2004587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None/>
            </a:pPr>
            <a:r>
              <a:rPr lang="en-US" sz="900" dirty="0">
                <a:solidFill>
                  <a:schemeClr val="accent1"/>
                </a:solidFill>
              </a:rPr>
              <a:t>Many organizations require a transition to adopt a fully outsourced model</a:t>
            </a:r>
          </a:p>
          <a:p>
            <a:pPr marL="0" indent="0">
              <a:buNone/>
            </a:pPr>
            <a:r>
              <a:rPr lang="en-US" sz="900" dirty="0">
                <a:solidFill>
                  <a:schemeClr val="accent1"/>
                </a:solidFill>
              </a:rPr>
              <a:t>Lines of division between IaaS and PaaS responsibilities are blurred in applications which use both constructs</a:t>
            </a:r>
          </a:p>
          <a:p>
            <a:pPr marL="0" indent="0">
              <a:buNone/>
            </a:pPr>
            <a:r>
              <a:rPr lang="en-US" sz="900" dirty="0">
                <a:solidFill>
                  <a:schemeClr val="accent1"/>
                </a:solidFill>
              </a:rPr>
              <a:t>While PaaS is typically the goal, IaaS is a current reality most workloads both require and understand for some functions</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91014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33228955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0364820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Managed applications reduce barriers to consumers using your solutions. They do not need expertise in cloud infrastructure to use your solution. Consumers have limited access to the critical resources. They do not need to worry about making a mistake when managing it. </a:t>
            </a:r>
          </a:p>
          <a:p>
            <a:r>
              <a:rPr lang="en-US" sz="900" b="0" i="0" u="none" strike="noStrike" kern="1200" dirty="0">
                <a:solidFill>
                  <a:schemeClr val="tx1"/>
                </a:solidFill>
                <a:effectLst/>
                <a:latin typeface="Segoe UI Light" pitchFamily="34" charset="0"/>
                <a:ea typeface="+mn-ea"/>
                <a:cs typeface="+mn-cs"/>
              </a:rPr>
              <a:t>Managed applications enable you to establish an ongoing relationship with your consumers. You define terms for managing the application, and all charges are handled through Azure billing. </a:t>
            </a:r>
          </a:p>
          <a:p>
            <a:r>
              <a:rPr lang="en-US" sz="900" b="0" i="0" u="none" strike="noStrike" kern="1200" dirty="0">
                <a:solidFill>
                  <a:schemeClr val="tx1"/>
                </a:solidFill>
                <a:effectLst/>
                <a:latin typeface="Segoe UI Light" pitchFamily="34" charset="0"/>
                <a:ea typeface="+mn-ea"/>
                <a:cs typeface="+mn-cs"/>
              </a:rPr>
              <a:t>Although customers deploy these managed applications in their subscriptions, they don't have to maintain, update, or service them. You can ensure that all customers are using approved versions. Customers don't have to develop application-specific domain knowledge to manage these applications. Customers automatically acquire application updates without the need to worry about troubleshooting and diagnosing issues with the applications. </a:t>
            </a:r>
          </a:p>
          <a:p>
            <a:r>
              <a:rPr lang="en-US" sz="900" b="0" i="0" u="none" strike="noStrike" kern="1200" dirty="0">
                <a:solidFill>
                  <a:schemeClr val="tx1"/>
                </a:solidFill>
                <a:effectLst/>
                <a:latin typeface="Segoe UI Light" pitchFamily="34" charset="0"/>
                <a:ea typeface="+mn-ea"/>
                <a:cs typeface="+mn-cs"/>
              </a:rPr>
              <a:t>For IT teams, managed applications enable you to offer pre-approved solutions to users in the organization. You ensure these solutions are compliant with organizational standards.</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8237223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0216405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25501268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4091928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3155652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35641823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201F18-C7BD-4C07-B05C-F9BF48195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503167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526260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31542883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304394337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10498664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17443679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36658128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258836454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22057694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8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101069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8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19989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36945349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3/21/2018 9:27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9</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168756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56698840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157536772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0204811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16319558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80106625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37295259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39891007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221188632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22551452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3906523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710553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8316159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3648933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21/2018 9: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028164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2350137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92" y="-992"/>
            <a:ext cx="12436475" cy="6995517"/>
          </a:xfrm>
          <a:prstGeom prst="rect">
            <a:avLst/>
          </a:prstGeom>
        </p:spPr>
      </p:pic>
      <p:sp>
        <p:nvSpPr>
          <p:cNvPr id="22" name="Rectangle 21"/>
          <p:cNvSpPr/>
          <p:nvPr userDrawn="1"/>
        </p:nvSpPr>
        <p:spPr bwMode="auto">
          <a:xfrm>
            <a:off x="272986" y="2125663"/>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Title 1"/>
          <p:cNvSpPr>
            <a:spLocks noGrp="1"/>
          </p:cNvSpPr>
          <p:nvPr>
            <p:ph type="title" hasCustomPrompt="1"/>
          </p:nvPr>
        </p:nvSpPr>
        <p:spPr bwMode="auto">
          <a:xfrm>
            <a:off x="366168" y="2125677"/>
            <a:ext cx="7314889" cy="1828800"/>
          </a:xfrm>
          <a:noFill/>
        </p:spPr>
        <p:txBody>
          <a:bodyPr lIns="146304" tIns="91440" rIns="146304" bIns="91440" anchor="t" anchorCtr="0"/>
          <a:lstStyle>
            <a:lvl1pPr>
              <a:defRPr sz="6400" spc="-100" baseline="0">
                <a:gradFill>
                  <a:gsLst>
                    <a:gs pos="16162">
                      <a:schemeClr val="tx1"/>
                    </a:gs>
                    <a:gs pos="43000">
                      <a:schemeClr val="tx1"/>
                    </a:gs>
                  </a:gsLst>
                  <a:lin ang="5400000" scaled="0"/>
                </a:gradFill>
              </a:defRPr>
            </a:lvl1pPr>
          </a:lstStyle>
          <a:p>
            <a:r>
              <a:rPr lang="en-US"/>
              <a:t>Presentation title</a:t>
            </a:r>
          </a:p>
        </p:txBody>
      </p:sp>
      <p:sp>
        <p:nvSpPr>
          <p:cNvPr id="24" name="Text Placeholder 2"/>
          <p:cNvSpPr>
            <a:spLocks noGrp="1"/>
          </p:cNvSpPr>
          <p:nvPr>
            <p:ph type="body" sz="quarter" idx="14" hasCustomPrompt="1"/>
          </p:nvPr>
        </p:nvSpPr>
        <p:spPr bwMode="auto">
          <a:xfrm>
            <a:off x="366168" y="3954457"/>
            <a:ext cx="7314889" cy="1737360"/>
          </a:xfrm>
        </p:spPr>
        <p:txBody>
          <a:bodyPr tIns="109728" bIns="109728">
            <a:noAutofit/>
          </a:bodyPr>
          <a:lstStyle>
            <a:lvl1pPr marL="0" indent="0">
              <a:spcBef>
                <a:spcPts val="0"/>
              </a:spcBef>
              <a:buNone/>
              <a:defRPr sz="3733">
                <a:gradFill>
                  <a:gsLst>
                    <a:gs pos="16162">
                      <a:schemeClr val="tx1"/>
                    </a:gs>
                    <a:gs pos="43000">
                      <a:schemeClr val="tx1"/>
                    </a:gs>
                  </a:gsLst>
                  <a:lin ang="5400000" scaled="0"/>
                </a:gradFill>
              </a:defRPr>
            </a:lvl1pPr>
          </a:lstStyle>
          <a:p>
            <a:pPr lvl="0"/>
            <a:r>
              <a:rPr lang="en-US"/>
              <a:t>Speaker Name</a:t>
            </a:r>
          </a:p>
        </p:txBody>
      </p:sp>
      <p:pic>
        <p:nvPicPr>
          <p:cNvPr id="25" name="Picture 2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609578" y="6240429"/>
            <a:ext cx="1284074" cy="274320"/>
          </a:xfrm>
          <a:prstGeom prst="rect">
            <a:avLst/>
          </a:prstGeom>
        </p:spPr>
      </p:pic>
    </p:spTree>
    <p:extLst>
      <p:ext uri="{BB962C8B-B14F-4D97-AF65-F5344CB8AC3E}">
        <p14:creationId xmlns:p14="http://schemas.microsoft.com/office/powerpoint/2010/main" val="594675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501660"/>
          </a:xfrm>
          <a:prstGeom prst="rect">
            <a:avLst/>
          </a:prstGeom>
          <a:noFill/>
          <a:ln w="12700">
            <a:noFill/>
            <a:miter lim="800000"/>
            <a:headEnd type="none" w="sm" len="sm"/>
            <a:tailEnd type="none" w="sm" len="sm"/>
          </a:ln>
          <a:effectLst/>
        </p:spPr>
        <p:txBody>
          <a:bodyPr vert="horz" wrap="square" lIns="243830" tIns="195064" rIns="243830" bIns="195064" numCol="1" anchor="t" anchorCtr="0" compatLnSpc="1">
            <a:prstTxWarp prst="textNoShape">
              <a:avLst/>
            </a:prstTxWarp>
            <a:spAutoFit/>
          </a:bodyPr>
          <a:lstStyle/>
          <a:p>
            <a:pPr defTabSz="932142" eaLnBrk="0" hangingPunct="0"/>
            <a:r>
              <a:rPr lang="en-US" sz="700">
                <a:gradFill>
                  <a:gsLst>
                    <a:gs pos="0">
                      <a:schemeClr val="tx1"/>
                    </a:gs>
                    <a:gs pos="100000">
                      <a:schemeClr val="tx1"/>
                    </a:gs>
                  </a:gsLst>
                  <a:lin ang="5400000" scaled="0"/>
                </a:gradFill>
                <a:cs typeface="Segoe UI" pitchFamily="34" charset="0"/>
              </a:rPr>
              <a:t>© 2017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612283" y="3145040"/>
            <a:ext cx="3471561" cy="704444"/>
          </a:xfrm>
          <a:prstGeom prst="rect">
            <a:avLst/>
          </a:prstGeom>
        </p:spPr>
      </p:pic>
    </p:spTree>
    <p:extLst>
      <p:ext uri="{BB962C8B-B14F-4D97-AF65-F5344CB8AC3E}">
        <p14:creationId xmlns:p14="http://schemas.microsoft.com/office/powerpoint/2010/main" val="264018719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Content Slide with Title">
    <p:spTree>
      <p:nvGrpSpPr>
        <p:cNvPr id="1" name=""/>
        <p:cNvGrpSpPr/>
        <p:nvPr/>
      </p:nvGrpSpPr>
      <p:grpSpPr>
        <a:xfrm>
          <a:off x="0" y="0"/>
          <a:ext cx="0" cy="0"/>
          <a:chOff x="0" y="0"/>
          <a:chExt cx="0" cy="0"/>
        </a:xfrm>
      </p:grpSpPr>
      <p:sp>
        <p:nvSpPr>
          <p:cNvPr id="2" name="Title 1"/>
          <p:cNvSpPr>
            <a:spLocks noGrp="1"/>
          </p:cNvSpPr>
          <p:nvPr>
            <p:ph type="title"/>
          </p:nvPr>
        </p:nvSpPr>
        <p:spPr>
          <a:xfrm>
            <a:off x="384389" y="254768"/>
            <a:ext cx="10725091" cy="1351952"/>
          </a:xfrm>
        </p:spPr>
        <p:txBody>
          <a:bodyPr>
            <a:normAutofit/>
          </a:bodyPr>
          <a:lstStyle>
            <a:lvl1pPr>
              <a:defRPr sz="5200"/>
            </a:lvl1pPr>
          </a:lstStyle>
          <a:p>
            <a:r>
              <a:rPr lang="en-US"/>
              <a:t>Click to edit Master title style</a:t>
            </a:r>
          </a:p>
        </p:txBody>
      </p:sp>
      <p:sp>
        <p:nvSpPr>
          <p:cNvPr id="3" name="Content Placeholder 2"/>
          <p:cNvSpPr>
            <a:spLocks noGrp="1"/>
          </p:cNvSpPr>
          <p:nvPr>
            <p:ph idx="1"/>
          </p:nvPr>
        </p:nvSpPr>
        <p:spPr>
          <a:xfrm>
            <a:off x="384389" y="1744342"/>
            <a:ext cx="10725091" cy="2087046"/>
          </a:xfrm>
        </p:spPr>
        <p:txBody>
          <a:bodyPr/>
          <a:lstStyle>
            <a:lvl1pPr>
              <a:defRPr>
                <a:latin typeface="Segoe UI" panose="020B0502040204020203" pitchFamily="34" charset="0"/>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atin typeface="Segoe UI" panose="020B0502040204020203" pitchFamily="34" charset="0"/>
                <a:cs typeface="Segoe UI" panose="020B0502040204020203" pitchFamily="34" charset="0"/>
              </a:defRPr>
            </a:lvl1pPr>
          </a:lstStyle>
          <a:p>
            <a:endParaRPr lang="en-US"/>
          </a:p>
        </p:txBody>
      </p:sp>
      <p:sp>
        <p:nvSpPr>
          <p:cNvPr id="6" name="Slide Number Placeholder 5"/>
          <p:cNvSpPr>
            <a:spLocks noGrp="1"/>
          </p:cNvSpPr>
          <p:nvPr>
            <p:ph type="sldNum" sz="quarter" idx="12"/>
          </p:nvPr>
        </p:nvSpPr>
        <p:spPr>
          <a:xfrm>
            <a:off x="11882460" y="6558506"/>
            <a:ext cx="470509" cy="372394"/>
          </a:xfrm>
        </p:spPr>
        <p:txBody>
          <a:bodyPr/>
          <a:lstStyle>
            <a:lvl1pPr>
              <a:defRPr>
                <a:latin typeface="Segoe UI" panose="020B0502040204020203" pitchFamily="34" charset="0"/>
                <a:cs typeface="Segoe UI" panose="020B0502040204020203" pitchFamily="34" charset="0"/>
              </a:defRPr>
            </a:lvl1pPr>
          </a:lstStyle>
          <a:p>
            <a:fld id="{066A2566-BF17-4568-96F5-227DF6133B55}" type="slidenum">
              <a:rPr lang="en-US" smtClean="0"/>
              <a:pPr/>
              <a:t>‹#›</a:t>
            </a:fld>
            <a:endParaRPr lang="en-US"/>
          </a:p>
        </p:txBody>
      </p:sp>
    </p:spTree>
    <p:extLst>
      <p:ext uri="{BB962C8B-B14F-4D97-AF65-F5344CB8AC3E}">
        <p14:creationId xmlns:p14="http://schemas.microsoft.com/office/powerpoint/2010/main" val="3075397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501660"/>
          </a:xfrm>
          <a:prstGeom prst="rect">
            <a:avLst/>
          </a:prstGeom>
          <a:noFill/>
          <a:ln w="12700">
            <a:noFill/>
            <a:miter lim="800000"/>
            <a:headEnd type="none" w="sm" len="sm"/>
            <a:tailEnd type="none" w="sm" len="sm"/>
          </a:ln>
          <a:effectLst/>
        </p:spPr>
        <p:txBody>
          <a:bodyPr vert="horz" wrap="square" lIns="243830" tIns="195064" rIns="243830" bIns="195064" numCol="1" anchor="t" anchorCtr="0" compatLnSpc="1">
            <a:prstTxWarp prst="textNoShape">
              <a:avLst/>
            </a:prstTxWarp>
            <a:spAutoFit/>
          </a:bodyPr>
          <a:lstStyle/>
          <a:p>
            <a:pPr defTabSz="932142" eaLnBrk="0" hangingPunct="0"/>
            <a:r>
              <a:rPr lang="en-US" sz="700">
                <a:gradFill>
                  <a:gsLst>
                    <a:gs pos="0">
                      <a:schemeClr val="tx1"/>
                    </a:gs>
                    <a:gs pos="100000">
                      <a:schemeClr val="tx1"/>
                    </a:gs>
                  </a:gsLst>
                  <a:lin ang="5400000" scaled="0"/>
                </a:gradFill>
                <a:cs typeface="Segoe UI" pitchFamily="34" charset="0"/>
              </a:rPr>
              <a:t>© 2017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612283" y="3145040"/>
            <a:ext cx="3471561" cy="704444"/>
          </a:xfrm>
          <a:prstGeom prst="rect">
            <a:avLst/>
          </a:prstGeom>
        </p:spPr>
      </p:pic>
    </p:spTree>
    <p:extLst>
      <p:ext uri="{BB962C8B-B14F-4D97-AF65-F5344CB8AC3E}">
        <p14:creationId xmlns:p14="http://schemas.microsoft.com/office/powerpoint/2010/main" val="7940890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0"/>
            <a:ext cx="11702553" cy="1868204"/>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1800"/>
            </a:lvl2pPr>
            <a:lvl3pPr marL="228564" indent="0">
              <a:buNone/>
              <a:defRPr sz="1800"/>
            </a:lvl3pPr>
            <a:lvl4pPr marL="457127" indent="0">
              <a:buNone/>
              <a:defRPr sz="1600"/>
            </a:lvl4pPr>
            <a:lvl5pPr marL="685691"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4800"/>
            </a:lvl1pPr>
          </a:lstStyle>
          <a:p>
            <a:r>
              <a:rPr lang="en-US"/>
              <a:t>Click to edit Master title style</a:t>
            </a:r>
          </a:p>
        </p:txBody>
      </p:sp>
    </p:spTree>
    <p:extLst>
      <p:ext uri="{BB962C8B-B14F-4D97-AF65-F5344CB8AC3E}">
        <p14:creationId xmlns:p14="http://schemas.microsoft.com/office/powerpoint/2010/main" val="409424416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8" name="MS logo white - EMF"/>
          <p:cNvPicPr>
            <a:picLocks noChangeAspect="1"/>
          </p:cNvPicPr>
          <p:nvPr userDrawn="1"/>
        </p:nvPicPr>
        <p:blipFill>
          <a:blip r:embed="rId2"/>
          <a:stretch>
            <a:fillRect/>
          </a:stretch>
        </p:blipFill>
        <p:spPr bwMode="black">
          <a:xfrm>
            <a:off x="460630" y="6204204"/>
            <a:ext cx="1451658" cy="310896"/>
          </a:xfrm>
          <a:prstGeom prst="rect">
            <a:avLst/>
          </a:prstGeom>
        </p:spPr>
      </p:pic>
    </p:spTree>
    <p:extLst>
      <p:ext uri="{BB962C8B-B14F-4D97-AF65-F5344CB8AC3E}">
        <p14:creationId xmlns:p14="http://schemas.microsoft.com/office/powerpoint/2010/main" val="4005575512"/>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t="5244" b="10360"/>
          <a:stretch/>
        </p:blipFill>
        <p:spPr>
          <a:xfrm>
            <a:off x="0" y="-1"/>
            <a:ext cx="12433124" cy="6994525"/>
          </a:xfrm>
          <a:prstGeom prst="rect">
            <a:avLst/>
          </a:prstGeom>
        </p:spPr>
      </p:pic>
      <p:sp>
        <p:nvSpPr>
          <p:cNvPr id="12" name="Rectangle 11"/>
          <p:cNvSpPr/>
          <p:nvPr userDrawn="1"/>
        </p:nvSpPr>
        <p:spPr bwMode="auto">
          <a:xfrm>
            <a:off x="273015" y="2125662"/>
            <a:ext cx="6399983"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2"/>
            <a:ext cx="6401571" cy="664797"/>
          </a:xfrm>
          <a:noFill/>
        </p:spPr>
        <p:txBody>
          <a:bodyPr wrap="square" lIns="164592" tIns="109728" rIns="164592" bIns="109728">
            <a:spAutoFit/>
          </a:bodyPr>
          <a:lstStyle>
            <a:lvl1pPr marL="0" indent="0">
              <a:spcBef>
                <a:spcPts val="0"/>
              </a:spcBef>
              <a:buNone/>
              <a:defRPr sz="3200">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60630" y="6204204"/>
            <a:ext cx="1451658" cy="310896"/>
          </a:xfrm>
          <a:prstGeom prst="rect">
            <a:avLst/>
          </a:prstGeom>
        </p:spPr>
      </p:pic>
    </p:spTree>
    <p:extLst>
      <p:ext uri="{BB962C8B-B14F-4D97-AF65-F5344CB8AC3E}">
        <p14:creationId xmlns:p14="http://schemas.microsoft.com/office/powerpoint/2010/main" val="2388521193"/>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7" name="MS logo white - EMF"/>
          <p:cNvPicPr>
            <a:picLocks noChangeAspect="1"/>
          </p:cNvPicPr>
          <p:nvPr userDrawn="1"/>
        </p:nvPicPr>
        <p:blipFill>
          <a:blip r:embed="rId2"/>
          <a:stretch>
            <a:fillRect/>
          </a:stretch>
        </p:blipFill>
        <p:spPr bwMode="black">
          <a:xfrm>
            <a:off x="460630" y="6204204"/>
            <a:ext cx="1451658" cy="310896"/>
          </a:xfrm>
          <a:prstGeom prst="rect">
            <a:avLst/>
          </a:prstGeom>
        </p:spPr>
      </p:pic>
    </p:spTree>
    <p:extLst>
      <p:ext uri="{BB962C8B-B14F-4D97-AF65-F5344CB8AC3E}">
        <p14:creationId xmlns:p14="http://schemas.microsoft.com/office/powerpoint/2010/main" val="185023123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userDrawn="1"/>
        </p:nvPicPr>
        <p:blipFill>
          <a:blip r:embed="rId2"/>
          <a:stretch>
            <a:fillRect/>
          </a:stretch>
        </p:blipFill>
        <p:spPr bwMode="black">
          <a:xfrm>
            <a:off x="460630" y="6204204"/>
            <a:ext cx="1451658" cy="310896"/>
          </a:xfrm>
          <a:prstGeom prst="rect">
            <a:avLst/>
          </a:prstGeom>
        </p:spPr>
      </p:pic>
      <p:pic>
        <p:nvPicPr>
          <p:cNvPr id="6" name="Picture 5"/>
          <p:cNvPicPr>
            <a:picLocks noChangeAspect="1"/>
          </p:cNvPicPr>
          <p:nvPr userDrawn="1"/>
        </p:nvPicPr>
        <p:blipFill rotWithShape="1">
          <a:blip r:embed="rId3"/>
          <a:srcRect l="37330" t="11255" r="14683" b="16717"/>
          <a:stretch/>
        </p:blipFill>
        <p:spPr>
          <a:xfrm>
            <a:off x="5439669" y="1"/>
            <a:ext cx="6995219" cy="6997283"/>
          </a:xfrm>
          <a:prstGeom prst="rect">
            <a:avLst/>
          </a:prstGeom>
        </p:spPr>
      </p:pic>
    </p:spTree>
    <p:extLst>
      <p:ext uri="{BB962C8B-B14F-4D97-AF65-F5344CB8AC3E}">
        <p14:creationId xmlns:p14="http://schemas.microsoft.com/office/powerpoint/2010/main" val="645332736"/>
      </p:ext>
    </p:extLst>
  </p:cSld>
  <p:clrMapOvr>
    <a:overrideClrMapping bg1="dk1" tx1="lt1" bg2="dk2" tx2="lt2" accent1="accent1" accent2="accent2" accent3="accent3" accent4="accent4" accent5="accent5" accent6="accent6" hlink="hlink" folHlink="folHlink"/>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5728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73029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0"/>
            <a:ext cx="11702553" cy="1969770"/>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62" indent="0">
              <a:buFont typeface="Wingdings" panose="05000000000000000000" pitchFamily="2" charset="2"/>
              <a:buNone/>
              <a:defRPr sz="2400" b="0"/>
            </a:lvl2pPr>
            <a:lvl3pPr marL="450805" indent="0">
              <a:buFont typeface="Wingdings" panose="05000000000000000000" pitchFamily="2" charset="2"/>
              <a:buNone/>
              <a:tabLst/>
              <a:defRPr sz="2200" b="0"/>
            </a:lvl3pPr>
            <a:lvl4pPr marL="652397" indent="0">
              <a:buFont typeface="Wingdings" panose="05000000000000000000" pitchFamily="2" charset="2"/>
              <a:buNone/>
              <a:defRPr sz="2200" b="0"/>
            </a:lvl4pPr>
            <a:lvl5pPr marL="85399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62"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0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97"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9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33309178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latin typeface="+mn-lt"/>
              </a:defRPr>
            </a:lvl1pPr>
            <a:lvl2pPr marL="426995" indent="-171433">
              <a:buFont typeface="Wingdings" panose="05000000000000000000" pitchFamily="2" charset="2"/>
              <a:buChar char=""/>
              <a:defRPr sz="2400" b="0"/>
            </a:lvl2pPr>
            <a:lvl3pPr marL="639699" indent="-188894">
              <a:buFont typeface="Wingdings" panose="05000000000000000000" pitchFamily="2" charset="2"/>
              <a:buChar char=""/>
              <a:tabLst/>
              <a:defRPr sz="2200" b="0"/>
            </a:lvl3pPr>
            <a:lvl4pPr marL="828592" indent="-176195">
              <a:buFont typeface="Wingdings" panose="05000000000000000000" pitchFamily="2" charset="2"/>
              <a:buChar char=""/>
              <a:defRPr sz="2200" b="0"/>
            </a:lvl4pPr>
            <a:lvl5pPr marL="1023836" indent="-169846">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28" indent="-342866">
              <a:defRPr lang="en-US" sz="2400" b="0" kern="1200" spc="0" baseline="0" dirty="0">
                <a:gradFill>
                  <a:gsLst>
                    <a:gs pos="1250">
                      <a:schemeClr val="tx1"/>
                    </a:gs>
                    <a:gs pos="100000">
                      <a:schemeClr val="tx1"/>
                    </a:gs>
                  </a:gsLst>
                  <a:lin ang="5400000" scaled="0"/>
                </a:gradFill>
                <a:latin typeface="+mn-lt"/>
                <a:ea typeface="+mn-ea"/>
                <a:cs typeface="+mn-cs"/>
              </a:defRPr>
            </a:lvl2pPr>
            <a:lvl3pPr marL="793671" indent="-342866">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262" indent="-342866">
              <a:defRPr lang="en-US" sz="2200" b="0" kern="1200" spc="0" baseline="0" dirty="0">
                <a:gradFill>
                  <a:gsLst>
                    <a:gs pos="1250">
                      <a:schemeClr val="tx1"/>
                    </a:gs>
                    <a:gs pos="100000">
                      <a:schemeClr val="tx1"/>
                    </a:gs>
                  </a:gsLst>
                  <a:lin ang="5400000" scaled="0"/>
                </a:gradFill>
                <a:latin typeface="+mn-lt"/>
                <a:ea typeface="+mn-ea"/>
                <a:cs typeface="+mn-cs"/>
              </a:defRPr>
            </a:lvl4pPr>
            <a:lvl5pPr marL="1196855" indent="-342866">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2000720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40959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7288236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58871748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96373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4182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2637291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36854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421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66168" y="1212850"/>
            <a:ext cx="11702553" cy="1969770"/>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66774"/>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8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668848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gradFill>
                  <a:gsLst>
                    <a:gs pos="0">
                      <a:schemeClr val="tx1"/>
                    </a:gs>
                    <a:gs pos="100000">
                      <a:schemeClr val="tx1"/>
                    </a:gs>
                  </a:gsLst>
                  <a:lin ang="5400000" scaled="0"/>
                </a:gradFill>
                <a:cs typeface="Segoe UI" pitchFamily="34" charset="0"/>
              </a:rPr>
              <a:t>© Copyright 2017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1264183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63806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1827083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037481"/>
          </a:xfrm>
        </p:spPr>
        <p:txBody>
          <a:bodyPr wrap="square">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037481"/>
          </a:xfrm>
        </p:spPr>
        <p:txBody>
          <a:bodyPr wrap="square">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6164" y="1729398"/>
            <a:ext cx="11702553" cy="1181862"/>
          </a:xfrm>
          <a:noFill/>
        </p:spPr>
        <p:txBody>
          <a:bodyPr wrap="square" tIns="91440" bIns="91440" anchor="t" anchorCtr="0">
            <a:spAutoFit/>
          </a:bodyPr>
          <a:lstStyle>
            <a:lvl1pPr algn="ctr">
              <a:defRPr sz="72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6022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99353" rtl="0" eaLnBrk="1" latinLnBrk="0" hangingPunct="1">
              <a:lnSpc>
                <a:spcPct val="90000"/>
              </a:lnSpc>
              <a:spcBef>
                <a:spcPct val="0"/>
              </a:spcBef>
              <a:buNone/>
              <a:defRPr lang="en-US" sz="3450" b="0" kern="1200" cap="none" spc="-77" baseline="0" dirty="0">
                <a:ln w="3175">
                  <a:noFill/>
                </a:ln>
                <a:solidFill>
                  <a:schemeClr val="accent1"/>
                </a:soli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34712460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heme" Target="../theme/theme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66168" y="1212855"/>
            <a:ext cx="11702553" cy="20374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087" r:id="rId2"/>
    <p:sldLayoutId id="2147484098" r:id="rId3"/>
    <p:sldLayoutId id="2147484107" r:id="rId4"/>
    <p:sldLayoutId id="2147484086" r:id="rId5"/>
    <p:sldLayoutId id="2147484092" r:id="rId6"/>
    <p:sldLayoutId id="2147484130" r:id="rId7"/>
    <p:sldLayoutId id="2147484290" r:id="rId8"/>
    <p:sldLayoutId id="2147484376" r:id="rId9"/>
    <p:sldLayoutId id="2147484384" r:id="rId10"/>
    <p:sldLayoutId id="2147484385" r:id="rId11"/>
  </p:sldLayoutIdLst>
  <p:transition>
    <p:fade/>
  </p:transition>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231" userDrawn="1">
          <p15:clr>
            <a:srgbClr val="5ACBF0"/>
          </p15:clr>
        </p15:guide>
        <p15:guide id="3" pos="999" userDrawn="1">
          <p15:clr>
            <a:srgbClr val="5ACBF0"/>
          </p15:clr>
        </p15:guide>
        <p15:guide id="4" pos="1767" userDrawn="1">
          <p15:clr>
            <a:srgbClr val="5ACBF0"/>
          </p15:clr>
        </p15:guide>
        <p15:guide id="5" pos="2535" userDrawn="1">
          <p15:clr>
            <a:srgbClr val="5ACBF0"/>
          </p15:clr>
        </p15:guide>
        <p15:guide id="6" pos="3303" userDrawn="1">
          <p15:clr>
            <a:srgbClr val="5ACBF0"/>
          </p15:clr>
        </p15:guide>
        <p15:guide id="8" pos="4070" userDrawn="1">
          <p15:clr>
            <a:srgbClr val="5ACBF0"/>
          </p15:clr>
        </p15:guide>
        <p15:guide id="9" pos="4838" userDrawn="1">
          <p15:clr>
            <a:srgbClr val="5ACBF0"/>
          </p15:clr>
        </p15:guide>
        <p15:guide id="11" pos="5606" userDrawn="1">
          <p15:clr>
            <a:srgbClr val="5ACBF0"/>
          </p15:clr>
        </p15:guide>
        <p15:guide id="12" pos="6374" userDrawn="1">
          <p15:clr>
            <a:srgbClr val="5ACBF0"/>
          </p15:clr>
        </p15:guide>
        <p15:guide id="14" pos="7142" userDrawn="1">
          <p15:clr>
            <a:srgbClr val="5ACBF0"/>
          </p15:clr>
        </p15:guide>
        <p15:guide id="15" pos="7602" userDrawn="1">
          <p15:clr>
            <a:srgbClr val="5ACBF0"/>
          </p15:clr>
        </p15:guide>
        <p15:guide id="16" pos="384" userDrawn="1">
          <p15:clr>
            <a:srgbClr val="C35EA4"/>
          </p15:clr>
        </p15:guide>
        <p15:guide id="17" pos="7449"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66168" y="1212855"/>
            <a:ext cx="11702553" cy="20374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37229"/>
      </p:ext>
    </p:extLst>
  </p:cSld>
  <p:clrMap bg1="dk1" tx1="lt1" bg2="dk2" tx2="lt2" accent1="accent1" accent2="accent2" accent3="accent3" accent4="accent4" accent5="accent5" accent6="accent6" hlink="hlink" folHlink="folHlink"/>
  <p:sldLayoutIdLst>
    <p:sldLayoutId id="2147484377" r:id="rId1"/>
  </p:sldLayoutIdLst>
  <p:transition>
    <p:fade/>
  </p:transition>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231" userDrawn="1">
          <p15:clr>
            <a:srgbClr val="5ACBF0"/>
          </p15:clr>
        </p15:guide>
        <p15:guide id="3" pos="999" userDrawn="1">
          <p15:clr>
            <a:srgbClr val="5ACBF0"/>
          </p15:clr>
        </p15:guide>
        <p15:guide id="4" pos="1767" userDrawn="1">
          <p15:clr>
            <a:srgbClr val="5ACBF0"/>
          </p15:clr>
        </p15:guide>
        <p15:guide id="5" pos="2535" userDrawn="1">
          <p15:clr>
            <a:srgbClr val="5ACBF0"/>
          </p15:clr>
        </p15:guide>
        <p15:guide id="6" pos="3303" userDrawn="1">
          <p15:clr>
            <a:srgbClr val="5ACBF0"/>
          </p15:clr>
        </p15:guide>
        <p15:guide id="7" pos="4070" userDrawn="1">
          <p15:clr>
            <a:srgbClr val="5ACBF0"/>
          </p15:clr>
        </p15:guide>
        <p15:guide id="8" pos="4838" userDrawn="1">
          <p15:clr>
            <a:srgbClr val="5ACBF0"/>
          </p15:clr>
        </p15:guide>
        <p15:guide id="9" pos="5606" userDrawn="1">
          <p15:clr>
            <a:srgbClr val="5ACBF0"/>
          </p15:clr>
        </p15:guide>
        <p15:guide id="10" pos="6374" userDrawn="1">
          <p15:clr>
            <a:srgbClr val="5ACBF0"/>
          </p15:clr>
        </p15:guide>
        <p15:guide id="11" pos="7142" userDrawn="1">
          <p15:clr>
            <a:srgbClr val="5ACBF0"/>
          </p15:clr>
        </p15:guide>
        <p15:guide id="12" pos="7602" userDrawn="1">
          <p15:clr>
            <a:srgbClr val="5ACBF0"/>
          </p15:clr>
        </p15:guide>
        <p15:guide id="13" pos="384" userDrawn="1">
          <p15:clr>
            <a:srgbClr val="C35EA4"/>
          </p15:clr>
        </p15:guide>
        <p15:guide id="14" pos="7449" userDrawn="1">
          <p15:clr>
            <a:srgbClr val="C35EA4"/>
          </p15:clr>
        </p15:guide>
        <p15:guide id="15" orient="horz" pos="763" userDrawn="1">
          <p15:clr>
            <a:srgbClr val="5ACBF0"/>
          </p15:clr>
        </p15:guide>
        <p15:guide id="16" orient="horz" pos="1339" userDrawn="1">
          <p15:clr>
            <a:srgbClr val="5ACBF0"/>
          </p15:clr>
        </p15:guide>
        <p15:guide id="17" orient="horz" pos="1915" userDrawn="1">
          <p15:clr>
            <a:srgbClr val="5ACBF0"/>
          </p15:clr>
        </p15:guide>
        <p15:guide id="18" orient="horz" pos="2491" userDrawn="1">
          <p15:clr>
            <a:srgbClr val="5ACBF0"/>
          </p15:clr>
        </p15:guide>
        <p15:guide id="19" orient="horz" pos="3067" userDrawn="1">
          <p15:clr>
            <a:srgbClr val="5ACBF0"/>
          </p15:clr>
        </p15:guide>
        <p15:guide id="20" orient="horz" pos="3643" userDrawn="1">
          <p15:clr>
            <a:srgbClr val="5ACBF0"/>
          </p15:clr>
        </p15:guide>
        <p15:guide id="21" orient="horz" pos="4219" userDrawn="1">
          <p15:clr>
            <a:srgbClr val="5ACBF0"/>
          </p15:clr>
        </p15:guide>
        <p15:guide id="22" orient="horz" pos="302" userDrawn="1">
          <p15:clr>
            <a:srgbClr val="C35EA4"/>
          </p15:clr>
        </p15:guide>
        <p15:guide id="23"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66168" y="1212855"/>
            <a:ext cx="11702553" cy="26551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8279180"/>
      </p:ext>
    </p:extLst>
  </p:cSld>
  <p:clrMap bg1="lt1" tx1="dk1" bg2="lt2" tx2="dk2" accent1="accent1" accent2="accent2" accent3="accent3" accent4="accent4" accent5="accent5" accent6="accent6" hlink="hlink" folHlink="folHlink"/>
  <p:sldLayoutIdLst>
    <p:sldLayoutId id="2147484383" r:id="rId1"/>
  </p:sldLayoutIdLst>
  <p:transition>
    <p:fade/>
  </p:transition>
  <p:txStyles>
    <p:title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31">
          <p15:clr>
            <a:srgbClr val="5ACBF0"/>
          </p15:clr>
        </p15:guide>
        <p15:guide id="3" pos="999">
          <p15:clr>
            <a:srgbClr val="5ACBF0"/>
          </p15:clr>
        </p15:guide>
        <p15:guide id="4" pos="1767">
          <p15:clr>
            <a:srgbClr val="5ACBF0"/>
          </p15:clr>
        </p15:guide>
        <p15:guide id="5" pos="2535">
          <p15:clr>
            <a:srgbClr val="5ACBF0"/>
          </p15:clr>
        </p15:guide>
        <p15:guide id="6" pos="3303">
          <p15:clr>
            <a:srgbClr val="5ACBF0"/>
          </p15:clr>
        </p15:guide>
        <p15:guide id="8" pos="4070">
          <p15:clr>
            <a:srgbClr val="5ACBF0"/>
          </p15:clr>
        </p15:guide>
        <p15:guide id="9" pos="4838">
          <p15:clr>
            <a:srgbClr val="5ACBF0"/>
          </p15:clr>
        </p15:guide>
        <p15:guide id="11" pos="5606">
          <p15:clr>
            <a:srgbClr val="5ACBF0"/>
          </p15:clr>
        </p15:guide>
        <p15:guide id="12" pos="6374">
          <p15:clr>
            <a:srgbClr val="5ACBF0"/>
          </p15:clr>
        </p15:guide>
        <p15:guide id="14" pos="7142">
          <p15:clr>
            <a:srgbClr val="5ACBF0"/>
          </p15:clr>
        </p15:guide>
        <p15:guide id="15" pos="7602">
          <p15:clr>
            <a:srgbClr val="5ACBF0"/>
          </p15:clr>
        </p15:guide>
        <p15:guide id="16" pos="384">
          <p15:clr>
            <a:srgbClr val="C35EA4"/>
          </p15:clr>
        </p15:guide>
        <p15:guide id="17" pos="7449">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2718625934"/>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hyperlink" Target="https://aka.ms/Azure/AZ"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aka.ms/Azure/AZ"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hyperlink" Target="http://aka.ms/Azure/sizes" TargetMode="Externa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hyperlink" Target="http://aka.ms/Azure/VMSS"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3" Type="http://schemas.openxmlformats.org/officeDocument/2006/relationships/hyperlink" Target="https://azure.microsoft.com/en-us/documentation/articles/insights-autoscale-best-practices/"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hyperlink" Target="http://storageexplorer.com/" TargetMode="External"/><Relationship Id="rId5" Type="http://schemas.openxmlformats.org/officeDocument/2006/relationships/hyperlink" Target="https://azure.microsoft.com/en-us/documentation/articles/resource-group-audit/" TargetMode="External"/><Relationship Id="rId4" Type="http://schemas.openxmlformats.org/officeDocument/2006/relationships/hyperlink" Target="https://azure.microsoft.com/en-us/documentation/articles/insights-autoscale-to-webhook-email/"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slide" Target="slide16.xml"/><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slide" Target="slide7.xml"/><Relationship Id="rId17" Type="http://schemas.openxmlformats.org/officeDocument/2006/relationships/slide" Target="slide53.xml"/><Relationship Id="rId2" Type="http://schemas.openxmlformats.org/officeDocument/2006/relationships/notesSlide" Target="../notesSlides/notesSlide2.xml"/><Relationship Id="rId16" Type="http://schemas.openxmlformats.org/officeDocument/2006/relationships/slide" Target="slide37.xml"/><Relationship Id="rId1" Type="http://schemas.openxmlformats.org/officeDocument/2006/relationships/slideLayout" Target="../slideLayouts/slideLayout11.xml"/><Relationship Id="rId6" Type="http://schemas.openxmlformats.org/officeDocument/2006/relationships/image" Target="../media/image12.png"/><Relationship Id="rId11" Type="http://schemas.openxmlformats.org/officeDocument/2006/relationships/slide" Target="slide3.xml"/><Relationship Id="rId5" Type="http://schemas.openxmlformats.org/officeDocument/2006/relationships/image" Target="../media/image11.png"/><Relationship Id="rId15" Type="http://schemas.openxmlformats.org/officeDocument/2006/relationships/slide" Target="slide28.xml"/><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slide" Target="slide21.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https://channel9.msdn.com/events/Ignite/Microsoft-Ignite-Orlando-2017/BRK3178?term=virtual%20machine%20scale%20set"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hyperlink" Target="http://aka.ms/Azure/Sizes"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aka.ms/Azure/RI" TargetMode="External"/><Relationship Id="rId2" Type="http://schemas.openxmlformats.org/officeDocument/2006/relationships/notesSlide" Target="../notesSlides/notesSlide25.xml"/><Relationship Id="rId1" Type="http://schemas.openxmlformats.org/officeDocument/2006/relationships/slideLayout" Target="../slideLayouts/slideLayout11.xml"/><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hyperlink" Target="http://aka.ms/Azure/DevOps" TargetMode="External"/><Relationship Id="rId2" Type="http://schemas.openxmlformats.org/officeDocument/2006/relationships/notesSlide" Target="../notesSlides/notesSlide39.xml"/><Relationship Id="rId1" Type="http://schemas.openxmlformats.org/officeDocument/2006/relationships/slideLayout" Target="../slideLayouts/slideLayout5.xml"/><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1.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2.xml.rels><?xml version="1.0" encoding="UTF-8" standalone="yes"?>
<Relationships xmlns="http://schemas.openxmlformats.org/package/2006/relationships"><Relationship Id="rId3" Type="http://schemas.openxmlformats.org/officeDocument/2006/relationships/hyperlink" Target="https://aka.ms/Azure/ManagedApplications" TargetMode="External"/><Relationship Id="rId2" Type="http://schemas.openxmlformats.org/officeDocument/2006/relationships/notesSlide" Target="../notesSlides/notesSlide42.xml"/><Relationship Id="rId1" Type="http://schemas.openxmlformats.org/officeDocument/2006/relationships/slideLayout" Target="../slideLayouts/slideLayout4.xml"/><Relationship Id="rId5" Type="http://schemas.openxmlformats.org/officeDocument/2006/relationships/image" Target="../media/image60.png"/><Relationship Id="rId4" Type="http://schemas.openxmlformats.org/officeDocument/2006/relationships/image" Target="../media/image59.png"/></Relationships>
</file>

<file path=ppt/slides/_rels/slide43.xml.rels><?xml version="1.0" encoding="UTF-8" standalone="yes"?>
<Relationships xmlns="http://schemas.openxmlformats.org/package/2006/relationships"><Relationship Id="rId3" Type="http://schemas.openxmlformats.org/officeDocument/2006/relationships/hyperlink" Target="http://aka.ms/Azure/Mobile" TargetMode="External"/><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61.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6.xml"/><Relationship Id="rId1" Type="http://schemas.openxmlformats.org/officeDocument/2006/relationships/slideLayout" Target="../slideLayouts/slideLayout4.xml"/><Relationship Id="rId6" Type="http://schemas.openxmlformats.org/officeDocument/2006/relationships/image" Target="../media/image65.jpeg"/><Relationship Id="rId5" Type="http://schemas.openxmlformats.org/officeDocument/2006/relationships/image" Target="../media/image64.emf"/><Relationship Id="rId4" Type="http://schemas.openxmlformats.org/officeDocument/2006/relationships/image" Target="../media/image63.emf"/></Relationships>
</file>

<file path=ppt/slides/_rels/slide4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7.xml"/><Relationship Id="rId1" Type="http://schemas.openxmlformats.org/officeDocument/2006/relationships/slideLayout" Target="../slideLayouts/slideLayout4.xml"/><Relationship Id="rId6" Type="http://schemas.openxmlformats.org/officeDocument/2006/relationships/image" Target="../media/image65.jpeg"/><Relationship Id="rId5" Type="http://schemas.openxmlformats.org/officeDocument/2006/relationships/image" Target="../media/image64.emf"/><Relationship Id="rId4" Type="http://schemas.openxmlformats.org/officeDocument/2006/relationships/image" Target="../media/image63.emf"/></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7.pn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hyperlink" Target="https://github.com/Azure/azure-quickstart-templates" TargetMode="External"/><Relationship Id="rId5" Type="http://schemas.openxmlformats.org/officeDocument/2006/relationships/image" Target="../media/image66.png"/><Relationship Id="rId4" Type="http://schemas.openxmlformats.org/officeDocument/2006/relationships/image" Target="../media/image63.emf"/></Relationships>
</file>

<file path=ppt/slides/_rels/slide49.xml.rels><?xml version="1.0" encoding="UTF-8" standalone="yes"?>
<Relationships xmlns="http://schemas.openxmlformats.org/package/2006/relationships"><Relationship Id="rId3" Type="http://schemas.openxmlformats.org/officeDocument/2006/relationships/hyperlink" Target="https://github.com/Azure/azure-quickstart-templates" TargetMode="External"/><Relationship Id="rId2" Type="http://schemas.openxmlformats.org/officeDocument/2006/relationships/notesSlide" Target="../notesSlides/notesSlide49.xml"/><Relationship Id="rId1" Type="http://schemas.openxmlformats.org/officeDocument/2006/relationships/slideLayout" Target="../slideLayouts/slideLayout4.xml"/><Relationship Id="rId5" Type="http://schemas.openxmlformats.org/officeDocument/2006/relationships/image" Target="../media/image68.png"/><Relationship Id="rId4" Type="http://schemas.openxmlformats.org/officeDocument/2006/relationships/hyperlink" Target="https://resources.azure.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1.xml"/><Relationship Id="rId1" Type="http://schemas.openxmlformats.org/officeDocument/2006/relationships/slideLayout" Target="../slideLayouts/slideLayout6.xml"/><Relationship Id="rId5" Type="http://schemas.openxmlformats.org/officeDocument/2006/relationships/image" Target="../media/image71.png"/><Relationship Id="rId4" Type="http://schemas.openxmlformats.org/officeDocument/2006/relationships/image" Target="../media/image70.png"/></Relationships>
</file>

<file path=ppt/slides/_rels/slide52.xml.rels><?xml version="1.0" encoding="UTF-8" standalone="yes"?>
<Relationships xmlns="http://schemas.openxmlformats.org/package/2006/relationships"><Relationship Id="rId3" Type="http://schemas.openxmlformats.org/officeDocument/2006/relationships/hyperlink" Target="https://aka.ms/Azure/Templates" TargetMode="External"/><Relationship Id="rId7" Type="http://schemas.openxmlformats.org/officeDocument/2006/relationships/image" Target="../media/image75.png"/><Relationship Id="rId2" Type="http://schemas.openxmlformats.org/officeDocument/2006/relationships/notesSlide" Target="../notesSlides/notesSlide52.xml"/><Relationship Id="rId1" Type="http://schemas.openxmlformats.org/officeDocument/2006/relationships/slideLayout" Target="../slideLayouts/slideLayout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5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3.xml"/></Relationships>
</file>

<file path=ppt/slides/_rels/slide58.xml.rels><?xml version="1.0" encoding="UTF-8" standalone="yes"?>
<Relationships xmlns="http://schemas.openxmlformats.org/package/2006/relationships"><Relationship Id="rId3" Type="http://schemas.openxmlformats.org/officeDocument/2006/relationships/hyperlink" Target="https://docs.microsoft.com/en-us/azure/architecture/checklist/availability" TargetMode="External"/><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hyperlink" Target="https://docs.microsoft.com/en-us/azure/virtual-machines/virtual-machines-windows-a8-a9-a10-a11-specs?toc=/azure/virtual-machines/windows/toc.json" TargetMode="External"/><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9.xml"/><Relationship Id="rId12" Type="http://schemas.openxmlformats.org/officeDocument/2006/relationships/image" Target="../media/image32.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5.xml"/><Relationship Id="rId11" Type="http://schemas.openxmlformats.org/officeDocument/2006/relationships/image" Target="../media/image31.png"/><Relationship Id="rId5" Type="http://schemas.openxmlformats.org/officeDocument/2006/relationships/tags" Target="../tags/tag4.xml"/><Relationship Id="rId10" Type="http://schemas.openxmlformats.org/officeDocument/2006/relationships/image" Target="../media/image30.jpeg"/><Relationship Id="rId4" Type="http://schemas.openxmlformats.org/officeDocument/2006/relationships/tags" Target="../tags/tag3.xml"/><Relationship Id="rId9" Type="http://schemas.openxmlformats.org/officeDocument/2006/relationships/image" Target="../media/image2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hasCustomPrompt="1"/>
          </p:nvPr>
        </p:nvSpPr>
        <p:spPr bwMode="auto">
          <a:xfrm>
            <a:off x="366168" y="2125677"/>
            <a:ext cx="7314889" cy="1828800"/>
          </a:xfrm>
          <a:noFill/>
        </p:spPr>
        <p:txBody>
          <a:bodyPr lIns="146304" tIns="91440" rIns="146304" bIns="91440" anchor="t" anchorCtr="0"/>
          <a:lstStyle>
            <a:lvl1pPr>
              <a:defRPr sz="6400" spc="-100" baseline="0">
                <a:gradFill>
                  <a:gsLst>
                    <a:gs pos="16162">
                      <a:schemeClr val="tx1"/>
                    </a:gs>
                    <a:gs pos="43000">
                      <a:schemeClr val="tx1"/>
                    </a:gs>
                  </a:gsLst>
                  <a:lin ang="5400000" scaled="0"/>
                </a:gradFill>
              </a:defRPr>
            </a:lvl1pPr>
          </a:lstStyle>
          <a:p>
            <a:r>
              <a:rPr lang="en-US" sz="5400"/>
              <a:t>Azure Solution </a:t>
            </a:r>
            <a:br>
              <a:rPr lang="en-US" sz="5400"/>
            </a:br>
            <a:r>
              <a:rPr lang="en-US" sz="5400"/>
              <a:t>Alignment Workshop</a:t>
            </a:r>
          </a:p>
        </p:txBody>
      </p:sp>
      <p:sp>
        <p:nvSpPr>
          <p:cNvPr id="8" name="Text Placeholder 2"/>
          <p:cNvSpPr>
            <a:spLocks noGrp="1"/>
          </p:cNvSpPr>
          <p:nvPr>
            <p:ph type="body" sz="quarter" idx="14" hasCustomPrompt="1"/>
          </p:nvPr>
        </p:nvSpPr>
        <p:spPr bwMode="auto">
          <a:xfrm>
            <a:off x="366168" y="3954457"/>
            <a:ext cx="7314889" cy="1752606"/>
          </a:xfrm>
        </p:spPr>
        <p:txBody>
          <a:bodyPr tIns="109728" bIns="109728">
            <a:noAutofit/>
          </a:bodyPr>
          <a:lstStyle>
            <a:lvl1pPr marL="0" indent="0">
              <a:spcBef>
                <a:spcPts val="0"/>
              </a:spcBef>
              <a:buNone/>
              <a:defRPr sz="3733">
                <a:gradFill>
                  <a:gsLst>
                    <a:gs pos="16162">
                      <a:schemeClr val="tx1"/>
                    </a:gs>
                    <a:gs pos="43000">
                      <a:schemeClr val="tx1"/>
                    </a:gs>
                  </a:gsLst>
                  <a:lin ang="5400000" scaled="0"/>
                </a:gradFill>
              </a:defRPr>
            </a:lvl1pPr>
          </a:lstStyle>
          <a:p>
            <a:r>
              <a:rPr lang="en-US" dirty="0"/>
              <a:t>Module 5a – Compute IaaS</a:t>
            </a:r>
          </a:p>
          <a:p>
            <a:endParaRPr lang="en-US" sz="1800" dirty="0">
              <a:latin typeface="Segoe UI"/>
            </a:endParaRPr>
          </a:p>
          <a:p>
            <a:endParaRPr lang="en-US" sz="1800" dirty="0">
              <a:latin typeface="Segoe UI"/>
            </a:endParaRPr>
          </a:p>
          <a:p>
            <a:endParaRPr lang="en-US" sz="1800" dirty="0">
              <a:latin typeface="Segoe UI"/>
            </a:endParaRPr>
          </a:p>
          <a:p>
            <a:pPr lvl="0"/>
            <a:endParaRPr lang="en-US" dirty="0"/>
          </a:p>
        </p:txBody>
      </p:sp>
    </p:spTree>
    <p:extLst>
      <p:ext uri="{BB962C8B-B14F-4D97-AF65-F5344CB8AC3E}">
        <p14:creationId xmlns:p14="http://schemas.microsoft.com/office/powerpoint/2010/main" val="352093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vailability Sets for Windows Azure VMs"/>
          <p:cNvPicPr/>
          <p:nvPr/>
        </p:nvPicPr>
        <p:blipFill>
          <a:blip r:embed="rId3">
            <a:extLst>
              <a:ext uri="{28A0092B-C50C-407E-A947-70E740481C1C}">
                <a14:useLocalDpi xmlns:a14="http://schemas.microsoft.com/office/drawing/2010/main"/>
              </a:ext>
            </a:extLst>
          </a:blip>
          <a:srcRect/>
          <a:stretch>
            <a:fillRect/>
          </a:stretch>
        </p:blipFill>
        <p:spPr bwMode="auto">
          <a:xfrm>
            <a:off x="4045651" y="3062904"/>
            <a:ext cx="4457890" cy="2800469"/>
          </a:xfrm>
          <a:prstGeom prst="rect">
            <a:avLst/>
          </a:prstGeom>
          <a:noFill/>
          <a:ln>
            <a:noFill/>
          </a:ln>
        </p:spPr>
      </p:pic>
      <p:sp>
        <p:nvSpPr>
          <p:cNvPr id="5" name="Title 2"/>
          <p:cNvSpPr txBox="1">
            <a:spLocks/>
          </p:cNvSpPr>
          <p:nvPr/>
        </p:nvSpPr>
        <p:spPr>
          <a:xfrm>
            <a:off x="518569" y="4476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Availability Sets</a:t>
            </a:r>
          </a:p>
        </p:txBody>
      </p:sp>
      <p:sp>
        <p:nvSpPr>
          <p:cNvPr id="6" name="Text Placeholder 1"/>
          <p:cNvSpPr txBox="1">
            <a:spLocks/>
          </p:cNvSpPr>
          <p:nvPr/>
        </p:nvSpPr>
        <p:spPr>
          <a:xfrm>
            <a:off x="518568" y="1365251"/>
            <a:ext cx="11109076" cy="1680460"/>
          </a:xfrm>
          <a:prstGeom prst="rect">
            <a:avLst/>
          </a:prstGeom>
        </p:spPr>
        <p:txBody>
          <a:bodyPr vert="horz" wrap="square" lIns="146304" tIns="91440" rIns="146304" bIns="91440" rtlCol="0">
            <a:spAutoFit/>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dirty="0">
                <a:solidFill>
                  <a:schemeClr val="accent1"/>
                </a:solidFill>
              </a:rPr>
              <a:t>…ensure that all instances of each tier have hardware redundancy by distributing them across fault domains, and are not taken down during an update.</a:t>
            </a:r>
          </a:p>
        </p:txBody>
      </p:sp>
    </p:spTree>
    <p:extLst>
      <p:ext uri="{BB962C8B-B14F-4D97-AF65-F5344CB8AC3E}">
        <p14:creationId xmlns:p14="http://schemas.microsoft.com/office/powerpoint/2010/main" val="3065434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5F0A98-146C-47D2-B8ED-845CFFA0C40E}"/>
              </a:ext>
            </a:extLst>
          </p:cNvPr>
          <p:cNvSpPr>
            <a:spLocks noGrp="1"/>
          </p:cNvSpPr>
          <p:nvPr>
            <p:ph type="title"/>
          </p:nvPr>
        </p:nvSpPr>
        <p:spPr/>
        <p:txBody>
          <a:bodyPr/>
          <a:lstStyle/>
          <a:p>
            <a:r>
              <a:rPr lang="en-US">
                <a:cs typeface="Segoe UI Light"/>
              </a:rPr>
              <a:t>Availability Zones</a:t>
            </a:r>
            <a:endParaRPr lang="en-US"/>
          </a:p>
        </p:txBody>
      </p:sp>
      <p:sp>
        <p:nvSpPr>
          <p:cNvPr id="5" name="Trapezoid 4">
            <a:extLst>
              <a:ext uri="{FF2B5EF4-FFF2-40B4-BE49-F238E27FC236}">
                <a16:creationId xmlns:a16="http://schemas.microsoft.com/office/drawing/2014/main" id="{AC6875B2-D8B2-4E0C-82E2-0B0DAC5835B7}"/>
              </a:ext>
            </a:extLst>
          </p:cNvPr>
          <p:cNvSpPr/>
          <p:nvPr/>
        </p:nvSpPr>
        <p:spPr bwMode="auto">
          <a:xfrm rot="2700000">
            <a:off x="10794945" y="352519"/>
            <a:ext cx="2127746" cy="469444"/>
          </a:xfrm>
          <a:prstGeom prst="trapezoid">
            <a:avLst>
              <a:gd name="adj" fmla="val 10119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0" fontAlgn="base">
              <a:lnSpc>
                <a:spcPct val="90000"/>
              </a:lnSpc>
              <a:spcBef>
                <a:spcPct val="0"/>
              </a:spcBef>
              <a:spcAft>
                <a:spcPct val="0"/>
              </a:spcAft>
              <a:defRPr/>
            </a:pPr>
            <a:r>
              <a:rPr lang="en-US" sz="2000" b="1" kern="0">
                <a:gradFill>
                  <a:gsLst>
                    <a:gs pos="0">
                      <a:srgbClr val="FFFFFF"/>
                    </a:gs>
                    <a:gs pos="100000">
                      <a:srgbClr val="FFFFFF"/>
                    </a:gs>
                  </a:gsLst>
                  <a:lin ang="5400000" scaled="0"/>
                </a:gradFill>
                <a:ea typeface="Segoe UI" pitchFamily="34" charset="0"/>
                <a:cs typeface="Segoe UI" pitchFamily="34" charset="0"/>
              </a:rPr>
              <a:t>Preview</a:t>
            </a:r>
          </a:p>
        </p:txBody>
      </p:sp>
      <p:pic>
        <p:nvPicPr>
          <p:cNvPr id="6" name="Picture 5">
            <a:extLst>
              <a:ext uri="{FF2B5EF4-FFF2-40B4-BE49-F238E27FC236}">
                <a16:creationId xmlns:a16="http://schemas.microsoft.com/office/drawing/2014/main" id="{E99D24FC-F858-4140-BC2A-ACAC3DC773E2}"/>
              </a:ext>
            </a:extLst>
          </p:cNvPr>
          <p:cNvPicPr>
            <a:picLocks noChangeAspect="1"/>
          </p:cNvPicPr>
          <p:nvPr/>
        </p:nvPicPr>
        <p:blipFill>
          <a:blip r:embed="rId3"/>
          <a:stretch>
            <a:fillRect/>
          </a:stretch>
        </p:blipFill>
        <p:spPr>
          <a:xfrm>
            <a:off x="6087905" y="1391184"/>
            <a:ext cx="5095238" cy="4380952"/>
          </a:xfrm>
          <a:prstGeom prst="rect">
            <a:avLst/>
          </a:prstGeom>
        </p:spPr>
      </p:pic>
      <p:sp>
        <p:nvSpPr>
          <p:cNvPr id="7" name="Text Placeholder 1">
            <a:extLst>
              <a:ext uri="{FF2B5EF4-FFF2-40B4-BE49-F238E27FC236}">
                <a16:creationId xmlns:a16="http://schemas.microsoft.com/office/drawing/2014/main" id="{E0933091-CED4-4C71-8FA8-48481A0BEB01}"/>
              </a:ext>
            </a:extLst>
          </p:cNvPr>
          <p:cNvSpPr>
            <a:spLocks noGrp="1"/>
          </p:cNvSpPr>
          <p:nvPr>
            <p:ph type="body" sz="quarter" idx="10"/>
          </p:nvPr>
        </p:nvSpPr>
        <p:spPr>
          <a:xfrm>
            <a:off x="366169" y="1266826"/>
            <a:ext cx="5480911" cy="5685403"/>
          </a:xfrm>
        </p:spPr>
        <p:txBody>
          <a:bodyPr/>
          <a:lstStyle/>
          <a:p>
            <a:pPr marL="0" indent="0">
              <a:buNone/>
            </a:pPr>
            <a:r>
              <a:rPr lang="en-US" sz="2400" dirty="0">
                <a:solidFill>
                  <a:schemeClr val="accent1"/>
                </a:solidFill>
              </a:rPr>
              <a:t>Industry-leading SLA 99.99% for VM uptime</a:t>
            </a:r>
          </a:p>
          <a:p>
            <a:endParaRPr lang="en-US" sz="750" dirty="0">
              <a:solidFill>
                <a:schemeClr val="accent1"/>
              </a:solidFill>
            </a:endParaRPr>
          </a:p>
          <a:p>
            <a:pPr marL="342900" lvl="1" indent="-342900" defTabSz="932594">
              <a:buFont typeface="Arial" panose="020B0604020202020204" pitchFamily="34" charset="0"/>
              <a:buChar char="•"/>
            </a:pPr>
            <a:r>
              <a:rPr lang="en-US" dirty="0"/>
              <a:t>Fault-isolated locations within an Azure region</a:t>
            </a:r>
          </a:p>
          <a:p>
            <a:pPr marL="342900" lvl="1" indent="-342900" defTabSz="932594">
              <a:buFont typeface="Arial" panose="020B0604020202020204" pitchFamily="34" charset="0"/>
              <a:buChar char="•"/>
            </a:pPr>
            <a:r>
              <a:rPr lang="en-US" dirty="0"/>
              <a:t>Creates redundant power, cooling and networking </a:t>
            </a:r>
          </a:p>
          <a:p>
            <a:pPr marL="0" lvl="1" indent="0" defTabSz="932594">
              <a:buNone/>
            </a:pPr>
            <a:r>
              <a:rPr lang="en-US" dirty="0">
                <a:solidFill>
                  <a:schemeClr val="accent1"/>
                </a:solidFill>
                <a:latin typeface="Segoe UI Light (Headings)"/>
              </a:rPr>
              <a:t>Three separate Availability Zones per Azure Region</a:t>
            </a:r>
            <a:endParaRPr lang="en-US" dirty="0">
              <a:latin typeface="Segoe UI Light (Headings)"/>
            </a:endParaRPr>
          </a:p>
          <a:p>
            <a:pPr marL="342900" lvl="1" indent="-342900" defTabSz="932594">
              <a:buFont typeface="Arial" panose="020B0604020202020204" pitchFamily="34" charset="0"/>
              <a:buChar char="•"/>
            </a:pPr>
            <a:r>
              <a:rPr lang="en-US" dirty="0"/>
              <a:t>Increase HA and fault tolerance to datacenter failures</a:t>
            </a:r>
          </a:p>
          <a:p>
            <a:pPr marL="342900" lvl="1" indent="-342900" defTabSz="932594">
              <a:buFont typeface="Arial" panose="020B0604020202020204" pitchFamily="34" charset="0"/>
              <a:buChar char="•"/>
            </a:pPr>
            <a:r>
              <a:rPr lang="en-US" dirty="0"/>
              <a:t>Physical and logical separation of AZ protect against DC failures</a:t>
            </a:r>
          </a:p>
          <a:p>
            <a:pPr marL="0" lvl="1" indent="0" defTabSz="932594">
              <a:buNone/>
            </a:pPr>
            <a:endParaRPr lang="en-US" sz="1800" i="1" dirty="0"/>
          </a:p>
          <a:p>
            <a:pPr marL="0" lvl="1" indent="0" defTabSz="932594">
              <a:buNone/>
            </a:pPr>
            <a:r>
              <a:rPr lang="en-US" sz="1800" i="1" dirty="0"/>
              <a:t>Current supported regions: East US 2, West Europe</a:t>
            </a:r>
          </a:p>
          <a:p>
            <a:endParaRPr lang="en-US" sz="2400" dirty="0"/>
          </a:p>
        </p:txBody>
      </p:sp>
      <p:sp>
        <p:nvSpPr>
          <p:cNvPr id="2" name="Rectangle 1">
            <a:extLst>
              <a:ext uri="{FF2B5EF4-FFF2-40B4-BE49-F238E27FC236}">
                <a16:creationId xmlns:a16="http://schemas.microsoft.com/office/drawing/2014/main" id="{D30CD716-F27B-452B-9A72-D0B997513CAB}"/>
              </a:ext>
            </a:extLst>
          </p:cNvPr>
          <p:cNvSpPr/>
          <p:nvPr/>
        </p:nvSpPr>
        <p:spPr>
          <a:xfrm>
            <a:off x="7640475" y="6177417"/>
            <a:ext cx="1990097" cy="369332"/>
          </a:xfrm>
          <a:prstGeom prst="rect">
            <a:avLst/>
          </a:prstGeom>
        </p:spPr>
        <p:txBody>
          <a:bodyPr wrap="none">
            <a:spAutoFit/>
          </a:bodyPr>
          <a:lstStyle/>
          <a:p>
            <a:r>
              <a:rPr lang="en-US" dirty="0">
                <a:hlinkClick r:id="rId4"/>
              </a:rPr>
              <a:t>aka.ms/Azure/AZ</a:t>
            </a:r>
            <a:r>
              <a:rPr lang="en-US" dirty="0"/>
              <a:t> </a:t>
            </a:r>
          </a:p>
        </p:txBody>
      </p:sp>
    </p:spTree>
    <p:extLst>
      <p:ext uri="{BB962C8B-B14F-4D97-AF65-F5344CB8AC3E}">
        <p14:creationId xmlns:p14="http://schemas.microsoft.com/office/powerpoint/2010/main" val="34654741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5F0A98-146C-47D2-B8ED-845CFFA0C40E}"/>
              </a:ext>
            </a:extLst>
          </p:cNvPr>
          <p:cNvSpPr>
            <a:spLocks noGrp="1"/>
          </p:cNvSpPr>
          <p:nvPr>
            <p:ph type="title"/>
          </p:nvPr>
        </p:nvSpPr>
        <p:spPr/>
        <p:txBody>
          <a:bodyPr/>
          <a:lstStyle/>
          <a:p>
            <a:r>
              <a:rPr lang="en-US" dirty="0"/>
              <a:t>The Spectrum of Protection</a:t>
            </a:r>
            <a:br>
              <a:rPr lang="en-US" dirty="0"/>
            </a:br>
            <a:r>
              <a:rPr lang="en-US" sz="2000" spc="0" dirty="0">
                <a:gradFill>
                  <a:gsLst>
                    <a:gs pos="2655">
                      <a:schemeClr val="tx2"/>
                    </a:gs>
                    <a:gs pos="33000">
                      <a:schemeClr val="tx2"/>
                    </a:gs>
                  </a:gsLst>
                  <a:lin ang="5400000" scaled="1"/>
                </a:gradFill>
                <a:cs typeface="Segoe UI Semilight" panose="020B0402040204020203" pitchFamily="34" charset="0"/>
              </a:rPr>
              <a:t>Spanning the hardware to DataCenter to Regions</a:t>
            </a:r>
            <a:endParaRPr lang="en-US" dirty="0"/>
          </a:p>
        </p:txBody>
      </p:sp>
      <p:sp>
        <p:nvSpPr>
          <p:cNvPr id="2" name="Rectangle 1">
            <a:extLst>
              <a:ext uri="{FF2B5EF4-FFF2-40B4-BE49-F238E27FC236}">
                <a16:creationId xmlns:a16="http://schemas.microsoft.com/office/drawing/2014/main" id="{D30CD716-F27B-452B-9A72-D0B997513CAB}"/>
              </a:ext>
            </a:extLst>
          </p:cNvPr>
          <p:cNvSpPr/>
          <p:nvPr/>
        </p:nvSpPr>
        <p:spPr>
          <a:xfrm>
            <a:off x="10449566" y="6686748"/>
            <a:ext cx="1593321" cy="307777"/>
          </a:xfrm>
          <a:prstGeom prst="rect">
            <a:avLst/>
          </a:prstGeom>
        </p:spPr>
        <p:txBody>
          <a:bodyPr wrap="none">
            <a:spAutoFit/>
          </a:bodyPr>
          <a:lstStyle/>
          <a:p>
            <a:r>
              <a:rPr lang="en-US" sz="1400" dirty="0">
                <a:hlinkClick r:id="rId3"/>
              </a:rPr>
              <a:t>aka.ms/Azure/AZ</a:t>
            </a:r>
            <a:r>
              <a:rPr lang="en-US" sz="1400" dirty="0"/>
              <a:t> </a:t>
            </a:r>
          </a:p>
        </p:txBody>
      </p:sp>
      <p:sp>
        <p:nvSpPr>
          <p:cNvPr id="46" name="Rectangle 45">
            <a:extLst>
              <a:ext uri="{FF2B5EF4-FFF2-40B4-BE49-F238E27FC236}">
                <a16:creationId xmlns:a16="http://schemas.microsoft.com/office/drawing/2014/main" id="{4182A076-7B83-4651-A1D8-89671860C587}"/>
              </a:ext>
            </a:extLst>
          </p:cNvPr>
          <p:cNvSpPr/>
          <p:nvPr/>
        </p:nvSpPr>
        <p:spPr bwMode="auto">
          <a:xfrm>
            <a:off x="2158" y="1677906"/>
            <a:ext cx="4114275" cy="2742850"/>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FE7E78B9-E572-47F5-A0CF-56804056E7E8}"/>
              </a:ext>
            </a:extLst>
          </p:cNvPr>
          <p:cNvSpPr/>
          <p:nvPr/>
        </p:nvSpPr>
        <p:spPr bwMode="auto">
          <a:xfrm>
            <a:off x="4160307" y="1677906"/>
            <a:ext cx="4114275" cy="2742850"/>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Rectangle 47">
            <a:extLst>
              <a:ext uri="{FF2B5EF4-FFF2-40B4-BE49-F238E27FC236}">
                <a16:creationId xmlns:a16="http://schemas.microsoft.com/office/drawing/2014/main" id="{03BDDEAA-07A6-4397-953B-31DD0D046F3A}"/>
              </a:ext>
            </a:extLst>
          </p:cNvPr>
          <p:cNvSpPr/>
          <p:nvPr/>
        </p:nvSpPr>
        <p:spPr bwMode="auto">
          <a:xfrm>
            <a:off x="8320613" y="1677906"/>
            <a:ext cx="4114275" cy="2742850"/>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Right Triangle 48">
            <a:extLst>
              <a:ext uri="{FF2B5EF4-FFF2-40B4-BE49-F238E27FC236}">
                <a16:creationId xmlns:a16="http://schemas.microsoft.com/office/drawing/2014/main" id="{F7E47F5D-63B1-42CB-8CCD-87E43C3E8A11}"/>
              </a:ext>
            </a:extLst>
          </p:cNvPr>
          <p:cNvSpPr/>
          <p:nvPr/>
        </p:nvSpPr>
        <p:spPr bwMode="auto">
          <a:xfrm flipH="1">
            <a:off x="1" y="1677907"/>
            <a:ext cx="12434886" cy="2741626"/>
          </a:xfrm>
          <a:prstGeom prst="rtTriangle">
            <a:avLst/>
          </a:prstGeom>
          <a:solidFill>
            <a:srgbClr val="0078D7">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44"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Rectangle 49">
            <a:extLst>
              <a:ext uri="{FF2B5EF4-FFF2-40B4-BE49-F238E27FC236}">
                <a16:creationId xmlns:a16="http://schemas.microsoft.com/office/drawing/2014/main" id="{F43A51EF-BB1F-437E-9F05-DF047643AA9A}"/>
              </a:ext>
            </a:extLst>
          </p:cNvPr>
          <p:cNvSpPr/>
          <p:nvPr/>
        </p:nvSpPr>
        <p:spPr bwMode="auto">
          <a:xfrm>
            <a:off x="274604" y="4434229"/>
            <a:ext cx="3842941" cy="12104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7" tIns="73143" rIns="182857" bIns="146285" numCol="1" spcCol="0" rtlCol="0" fromWordArt="0" anchor="t" anchorCtr="0" forceAA="0" compatLnSpc="1">
            <a:prstTxWarp prst="textNoShape">
              <a:avLst/>
            </a:prstTxWarp>
            <a:spAutoFit/>
          </a:bodyPr>
          <a:lstStyle/>
          <a:p>
            <a:pPr marL="0" marR="0" lvl="0" indent="0" defTabSz="932379" eaLnBrk="1" fontAlgn="base" latinLnBrk="0" hangingPunct="1">
              <a:lnSpc>
                <a:spcPct val="90000"/>
              </a:lnSpc>
              <a:spcBef>
                <a:spcPts val="600"/>
              </a:spcBef>
              <a:spcAft>
                <a:spcPct val="0"/>
              </a:spcAft>
              <a:buClrTx/>
              <a:buSzTx/>
              <a:buFontTx/>
              <a:buNone/>
              <a:tabLst/>
              <a:defRPr/>
            </a:pPr>
            <a:r>
              <a:rPr kumimoji="0" lang="en-US" sz="3200" b="0" i="0" u="none" strike="noStrike" kern="0" cap="none" spc="0" normalizeH="0" baseline="0" noProof="0">
                <a:ln>
                  <a:noFill/>
                </a:ln>
                <a:gradFill>
                  <a:gsLst>
                    <a:gs pos="15929">
                      <a:srgbClr val="353535"/>
                    </a:gs>
                    <a:gs pos="62000">
                      <a:srgbClr val="353535"/>
                    </a:gs>
                  </a:gsLst>
                  <a:lin ang="5400000" scaled="1"/>
                </a:gradFill>
                <a:effectLst/>
                <a:uLnTx/>
                <a:uFillTx/>
                <a:latin typeface="Segoe UI Light"/>
                <a:ea typeface="+mn-ea"/>
                <a:cs typeface="Segoe UI Semibold" panose="020B0702040204020203" pitchFamily="34" charset="0"/>
              </a:rPr>
              <a:t>Availability Sets</a:t>
            </a:r>
          </a:p>
          <a:p>
            <a:pPr marL="0" marR="0" lvl="0" indent="0" defTabSz="932379" eaLnBrk="1" fontAlgn="base" latinLnBrk="0" hangingPunct="1">
              <a:lnSpc>
                <a:spcPct val="90000"/>
              </a:lnSpc>
              <a:spcBef>
                <a:spcPts val="768"/>
              </a:spcBef>
              <a:spcAft>
                <a:spcPct val="0"/>
              </a:spcAft>
              <a:buClrTx/>
              <a:buSzTx/>
              <a:buFontTx/>
              <a:buNone/>
              <a:tabLst/>
              <a:defRPr/>
            </a:pPr>
            <a:r>
              <a:rPr kumimoji="0" lang="en-US" sz="1600" b="0" i="0" u="none" strike="noStrike" kern="0" cap="none" spc="0" normalizeH="0" baseline="0" noProof="0">
                <a:ln>
                  <a:noFill/>
                </a:ln>
                <a:gradFill>
                  <a:gsLst>
                    <a:gs pos="15929">
                      <a:srgbClr val="353535">
                        <a:lumMod val="75000"/>
                        <a:lumOff val="25000"/>
                      </a:srgbClr>
                    </a:gs>
                    <a:gs pos="62000">
                      <a:srgbClr val="353535">
                        <a:lumMod val="75000"/>
                        <a:lumOff val="25000"/>
                      </a:srgbClr>
                    </a:gs>
                  </a:gsLst>
                  <a:lin ang="5400000" scaled="1"/>
                </a:gradFill>
                <a:effectLst/>
                <a:uLnTx/>
                <a:uFillTx/>
                <a:latin typeface="Segoe UI Semilight"/>
                <a:ea typeface="+mn-ea"/>
                <a:cs typeface="Segoe UI" panose="020B0502040204020203" pitchFamily="34" charset="0"/>
              </a:rPr>
              <a:t>High Availability protection from hardware failures in a datacenter.</a:t>
            </a:r>
          </a:p>
        </p:txBody>
      </p:sp>
      <p:sp>
        <p:nvSpPr>
          <p:cNvPr id="51" name="Rectangle 50">
            <a:extLst>
              <a:ext uri="{FF2B5EF4-FFF2-40B4-BE49-F238E27FC236}">
                <a16:creationId xmlns:a16="http://schemas.microsoft.com/office/drawing/2014/main" id="{89A6C38C-B27F-4F00-88A7-9C27EEBA9143}"/>
              </a:ext>
            </a:extLst>
          </p:cNvPr>
          <p:cNvSpPr/>
          <p:nvPr/>
        </p:nvSpPr>
        <p:spPr bwMode="auto">
          <a:xfrm>
            <a:off x="4158671" y="4434229"/>
            <a:ext cx="4117545" cy="14320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7" tIns="73143" rIns="182857" bIns="146285" numCol="1" spcCol="0" rtlCol="0" fromWordArt="0" anchor="t" anchorCtr="0" forceAA="0" compatLnSpc="1">
            <a:prstTxWarp prst="textNoShape">
              <a:avLst/>
            </a:prstTxWarp>
            <a:spAutoFit/>
          </a:bodyPr>
          <a:lstStyle/>
          <a:p>
            <a:pPr marL="0" marR="0" lvl="0" indent="0" defTabSz="932379" eaLnBrk="1" fontAlgn="base" latinLnBrk="0" hangingPunct="1">
              <a:lnSpc>
                <a:spcPct val="90000"/>
              </a:lnSpc>
              <a:spcBef>
                <a:spcPts val="600"/>
              </a:spcBef>
              <a:spcAft>
                <a:spcPct val="0"/>
              </a:spcAft>
              <a:buClrTx/>
              <a:buSzTx/>
              <a:buFontTx/>
              <a:buNone/>
              <a:tabLst/>
              <a:defRPr/>
            </a:pPr>
            <a:r>
              <a:rPr kumimoji="0" lang="en-US" sz="3200" b="0" i="0" u="none" strike="noStrike" kern="0" cap="none" spc="0" normalizeH="0" baseline="0" noProof="0">
                <a:ln>
                  <a:noFill/>
                </a:ln>
                <a:gradFill>
                  <a:gsLst>
                    <a:gs pos="15929">
                      <a:srgbClr val="353535"/>
                    </a:gs>
                    <a:gs pos="62000">
                      <a:srgbClr val="353535"/>
                    </a:gs>
                  </a:gsLst>
                  <a:lin ang="5400000" scaled="1"/>
                </a:gradFill>
                <a:effectLst/>
                <a:uLnTx/>
                <a:uFillTx/>
                <a:latin typeface="Segoe UI Light"/>
                <a:ea typeface="+mn-ea"/>
                <a:cs typeface="Segoe UI Semibold" panose="020B0702040204020203" pitchFamily="34" charset="0"/>
              </a:rPr>
              <a:t>Availability Zones</a:t>
            </a:r>
          </a:p>
          <a:p>
            <a:pPr marL="0" marR="0" lvl="0" indent="0" defTabSz="932379" eaLnBrk="1" fontAlgn="base" latinLnBrk="0" hangingPunct="1">
              <a:lnSpc>
                <a:spcPct val="90000"/>
              </a:lnSpc>
              <a:spcBef>
                <a:spcPts val="768"/>
              </a:spcBef>
              <a:spcAft>
                <a:spcPct val="0"/>
              </a:spcAft>
              <a:buClrTx/>
              <a:buSzTx/>
              <a:buFontTx/>
              <a:buNone/>
              <a:tabLst/>
              <a:defRPr/>
            </a:pPr>
            <a:r>
              <a:rPr kumimoji="0" lang="en-US" sz="1600" b="0" i="0" u="none" strike="noStrike" kern="0" cap="none" spc="0" normalizeH="0" baseline="0" noProof="0">
                <a:ln>
                  <a:noFill/>
                </a:ln>
                <a:gradFill>
                  <a:gsLst>
                    <a:gs pos="15929">
                      <a:srgbClr val="353535">
                        <a:lumMod val="75000"/>
                        <a:lumOff val="25000"/>
                      </a:srgbClr>
                    </a:gs>
                    <a:gs pos="62000">
                      <a:srgbClr val="353535">
                        <a:lumMod val="75000"/>
                        <a:lumOff val="25000"/>
                      </a:srgbClr>
                    </a:gs>
                  </a:gsLst>
                  <a:lin ang="5400000" scaled="1"/>
                </a:gradFill>
                <a:effectLst/>
                <a:uLnTx/>
                <a:uFillTx/>
                <a:latin typeface="Segoe UI Semilight"/>
                <a:ea typeface="+mn-ea"/>
                <a:cs typeface="Segoe UI" panose="020B0502040204020203" pitchFamily="34" charset="0"/>
              </a:rPr>
              <a:t>High Availability protection against hardware, network, cooling, and power failures within a region.</a:t>
            </a:r>
          </a:p>
        </p:txBody>
      </p:sp>
      <p:sp>
        <p:nvSpPr>
          <p:cNvPr id="52" name="Rectangle 51">
            <a:extLst>
              <a:ext uri="{FF2B5EF4-FFF2-40B4-BE49-F238E27FC236}">
                <a16:creationId xmlns:a16="http://schemas.microsoft.com/office/drawing/2014/main" id="{D0C27634-14BE-4FBE-A623-19438FF28575}"/>
              </a:ext>
            </a:extLst>
          </p:cNvPr>
          <p:cNvSpPr/>
          <p:nvPr/>
        </p:nvSpPr>
        <p:spPr bwMode="auto">
          <a:xfrm>
            <a:off x="8317344" y="4434228"/>
            <a:ext cx="3859558" cy="16535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7" tIns="73143" rIns="182857" bIns="146285" numCol="1" spcCol="0" rtlCol="0" fromWordArt="0" anchor="t" anchorCtr="0" forceAA="0" compatLnSpc="1">
            <a:prstTxWarp prst="textNoShape">
              <a:avLst/>
            </a:prstTxWarp>
            <a:spAutoFit/>
          </a:bodyPr>
          <a:lstStyle/>
          <a:p>
            <a:pPr marL="0" marR="0" lvl="0" indent="0" defTabSz="932379" eaLnBrk="1" fontAlgn="base" latinLnBrk="0" hangingPunct="1">
              <a:lnSpc>
                <a:spcPct val="90000"/>
              </a:lnSpc>
              <a:spcBef>
                <a:spcPts val="600"/>
              </a:spcBef>
              <a:spcAft>
                <a:spcPct val="0"/>
              </a:spcAft>
              <a:buClrTx/>
              <a:buSzTx/>
              <a:buFontTx/>
              <a:buNone/>
              <a:tabLst/>
              <a:defRPr/>
            </a:pPr>
            <a:r>
              <a:rPr kumimoji="0" lang="en-US" sz="3200" b="0" i="0" u="none" strike="noStrike" kern="0" cap="none" spc="0" normalizeH="0" baseline="0" noProof="0">
                <a:ln>
                  <a:noFill/>
                </a:ln>
                <a:gradFill>
                  <a:gsLst>
                    <a:gs pos="15929">
                      <a:srgbClr val="353535"/>
                    </a:gs>
                    <a:gs pos="62000">
                      <a:srgbClr val="353535"/>
                    </a:gs>
                  </a:gsLst>
                  <a:lin ang="5400000" scaled="1"/>
                </a:gradFill>
                <a:effectLst/>
                <a:uLnTx/>
                <a:uFillTx/>
                <a:latin typeface="Segoe UI Light"/>
                <a:ea typeface="+mn-ea"/>
                <a:cs typeface="Segoe UI Semibold" panose="020B0702040204020203" pitchFamily="34" charset="0"/>
              </a:rPr>
              <a:t>Region Pairs</a:t>
            </a:r>
          </a:p>
          <a:p>
            <a:pPr marL="0" marR="0" lvl="0" indent="0" defTabSz="932379" eaLnBrk="1" fontAlgn="base" latinLnBrk="0" hangingPunct="1">
              <a:lnSpc>
                <a:spcPct val="90000"/>
              </a:lnSpc>
              <a:spcBef>
                <a:spcPts val="768"/>
              </a:spcBef>
              <a:spcAft>
                <a:spcPct val="0"/>
              </a:spcAft>
              <a:buClrTx/>
              <a:buSzTx/>
              <a:buFontTx/>
              <a:buNone/>
              <a:tabLst/>
              <a:defRPr/>
            </a:pPr>
            <a:r>
              <a:rPr kumimoji="0" lang="en-US" sz="1600" b="0" i="0" u="none" strike="noStrike" kern="0" cap="none" spc="0" normalizeH="0" baseline="0" noProof="0">
                <a:ln>
                  <a:noFill/>
                </a:ln>
                <a:gradFill>
                  <a:gsLst>
                    <a:gs pos="15929">
                      <a:srgbClr val="353535">
                        <a:lumMod val="75000"/>
                        <a:lumOff val="25000"/>
                      </a:srgbClr>
                    </a:gs>
                    <a:gs pos="62000">
                      <a:srgbClr val="353535">
                        <a:lumMod val="75000"/>
                        <a:lumOff val="25000"/>
                      </a:srgbClr>
                    </a:gs>
                  </a:gsLst>
                  <a:lin ang="5400000" scaled="1"/>
                </a:gradFill>
                <a:effectLst/>
                <a:uLnTx/>
                <a:uFillTx/>
                <a:latin typeface="Segoe UI Semilight"/>
                <a:ea typeface="+mn-ea"/>
                <a:cs typeface="Segoe UI" panose="020B0502040204020203" pitchFamily="34" charset="0"/>
              </a:rPr>
              <a:t>Protection for your data and applications from the loss of an entire region with GRS backup and Azure Site Recovery.</a:t>
            </a:r>
          </a:p>
        </p:txBody>
      </p:sp>
      <p:sp>
        <p:nvSpPr>
          <p:cNvPr id="53" name="Rectangle 52">
            <a:extLst>
              <a:ext uri="{FF2B5EF4-FFF2-40B4-BE49-F238E27FC236}">
                <a16:creationId xmlns:a16="http://schemas.microsoft.com/office/drawing/2014/main" id="{A53151D9-7DD0-4B22-8E11-4E22B87FFD8C}"/>
              </a:ext>
            </a:extLst>
          </p:cNvPr>
          <p:cNvSpPr/>
          <p:nvPr/>
        </p:nvSpPr>
        <p:spPr bwMode="auto">
          <a:xfrm>
            <a:off x="10262300" y="999258"/>
            <a:ext cx="2015024" cy="44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marL="0" marR="0" lvl="0" indent="0" algn="r" defTabSz="932649"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w="3175">
                  <a:noFill/>
                </a:ln>
                <a:gradFill>
                  <a:gsLst>
                    <a:gs pos="15044">
                      <a:srgbClr val="00BCF2"/>
                    </a:gs>
                    <a:gs pos="37000">
                      <a:srgbClr val="00BCF2"/>
                    </a:gs>
                  </a:gsLst>
                  <a:lin ang="5400000" scaled="1"/>
                </a:gradFill>
                <a:effectLst/>
                <a:uLnTx/>
                <a:uFillTx/>
                <a:latin typeface="Segoe UI Semibold" panose="020B0702040204020203" pitchFamily="34" charset="0"/>
                <a:ea typeface="+mn-ea"/>
                <a:cs typeface="Segoe UI Semibold" panose="020B0702040204020203" pitchFamily="34" charset="0"/>
              </a:rPr>
              <a:t>Protection radius</a:t>
            </a:r>
          </a:p>
        </p:txBody>
      </p:sp>
      <p:sp>
        <p:nvSpPr>
          <p:cNvPr id="54" name="Oval 53">
            <a:extLst>
              <a:ext uri="{FF2B5EF4-FFF2-40B4-BE49-F238E27FC236}">
                <a16:creationId xmlns:a16="http://schemas.microsoft.com/office/drawing/2014/main" id="{5EE4AD28-16E4-4594-9813-0510A151CDBC}"/>
              </a:ext>
            </a:extLst>
          </p:cNvPr>
          <p:cNvSpPr/>
          <p:nvPr/>
        </p:nvSpPr>
        <p:spPr bwMode="auto">
          <a:xfrm>
            <a:off x="9485690" y="2157270"/>
            <a:ext cx="1784122" cy="1784122"/>
          </a:xfrm>
          <a:prstGeom prst="ellipse">
            <a:avLst/>
          </a:pr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marL="0" marR="0" lvl="0" indent="0" defTabSz="9326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ndParaRPr>
          </a:p>
        </p:txBody>
      </p:sp>
      <p:cxnSp>
        <p:nvCxnSpPr>
          <p:cNvPr id="55" name="Straight Arrow Connector 54">
            <a:extLst>
              <a:ext uri="{FF2B5EF4-FFF2-40B4-BE49-F238E27FC236}">
                <a16:creationId xmlns:a16="http://schemas.microsoft.com/office/drawing/2014/main" id="{232F52D7-389C-4C15-A5D7-B29242D7B238}"/>
              </a:ext>
            </a:extLst>
          </p:cNvPr>
          <p:cNvCxnSpPr>
            <a:cxnSpLocks/>
          </p:cNvCxnSpPr>
          <p:nvPr/>
        </p:nvCxnSpPr>
        <p:spPr>
          <a:xfrm>
            <a:off x="10242950" y="3049331"/>
            <a:ext cx="269603" cy="0"/>
          </a:xfrm>
          <a:prstGeom prst="straightConnector1">
            <a:avLst/>
          </a:prstGeom>
          <a:noFill/>
          <a:ln w="22225" cap="flat" cmpd="sng" algn="ctr">
            <a:solidFill>
              <a:srgbClr val="FFFFFF"/>
            </a:solidFill>
            <a:prstDash val="solid"/>
            <a:headEnd type="triangle"/>
            <a:tailEnd type="triangle"/>
          </a:ln>
          <a:effectLst/>
        </p:spPr>
      </p:cxnSp>
      <p:grpSp>
        <p:nvGrpSpPr>
          <p:cNvPr id="56" name="Group 55">
            <a:extLst>
              <a:ext uri="{FF2B5EF4-FFF2-40B4-BE49-F238E27FC236}">
                <a16:creationId xmlns:a16="http://schemas.microsoft.com/office/drawing/2014/main" id="{380AA1F4-C9D2-4434-8E47-550B2F8B3AAD}"/>
              </a:ext>
            </a:extLst>
          </p:cNvPr>
          <p:cNvGrpSpPr/>
          <p:nvPr/>
        </p:nvGrpSpPr>
        <p:grpSpPr>
          <a:xfrm>
            <a:off x="0" y="6157655"/>
            <a:ext cx="12434888" cy="546604"/>
            <a:chOff x="-1" y="6609811"/>
            <a:chExt cx="12436476" cy="426563"/>
          </a:xfrm>
        </p:grpSpPr>
        <p:sp>
          <p:nvSpPr>
            <p:cNvPr id="57" name="Rectangle 56">
              <a:extLst>
                <a:ext uri="{FF2B5EF4-FFF2-40B4-BE49-F238E27FC236}">
                  <a16:creationId xmlns:a16="http://schemas.microsoft.com/office/drawing/2014/main" id="{86C0AF77-62F5-4445-8A98-8CE95ABFF412}"/>
                </a:ext>
              </a:extLst>
            </p:cNvPr>
            <p:cNvSpPr/>
            <p:nvPr/>
          </p:nvSpPr>
          <p:spPr bwMode="auto">
            <a:xfrm>
              <a:off x="-1" y="6609811"/>
              <a:ext cx="4118071" cy="42656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429713" tIns="146285" rIns="182857" bIns="146285" numCol="1" spcCol="0" rtlCol="0" fromWordArt="0" anchor="ctr" anchorCtr="0" forceAA="0" compatLnSpc="1">
              <a:prstTxWarp prst="textNoShape">
                <a:avLst/>
              </a:prstTxWarp>
              <a:noAutofit/>
            </a:bodyPr>
            <a:lstStyle/>
            <a:p>
              <a:pPr marL="0" marR="0" lvl="0" indent="0" algn="ctr" defTabSz="932379" eaLnBrk="1" fontAlgn="base" latinLnBrk="0" hangingPunct="1">
                <a:lnSpc>
                  <a:spcPct val="90000"/>
                </a:lnSpc>
                <a:spcBef>
                  <a:spcPts val="600"/>
                </a:spcBef>
                <a:spcAft>
                  <a:spcPct val="0"/>
                </a:spcAft>
                <a:buClrTx/>
                <a:buSzTx/>
                <a:buFontTx/>
                <a:buNone/>
                <a:tabLst/>
                <a:defRPr/>
              </a:pPr>
              <a:r>
                <a:rPr kumimoji="0" lang="en-US" sz="1800" b="0" i="0" u="none" strike="noStrike" kern="0" cap="none" spc="0" normalizeH="0" baseline="0" noProof="0">
                  <a:ln>
                    <a:noFill/>
                  </a:ln>
                  <a:gradFill>
                    <a:gsLst>
                      <a:gs pos="15929">
                        <a:srgbClr val="353535"/>
                      </a:gs>
                      <a:gs pos="62000">
                        <a:srgbClr val="353535"/>
                      </a:gs>
                    </a:gsLst>
                    <a:lin ang="5400000" scaled="1"/>
                  </a:gradFill>
                  <a:effectLst/>
                  <a:uLnTx/>
                  <a:uFillTx/>
                  <a:latin typeface="Segoe UI Semibold" panose="020B0702040204020203" pitchFamily="34" charset="0"/>
                  <a:ea typeface="+mn-ea"/>
                  <a:cs typeface="Segoe UI Semibold" panose="020B0702040204020203" pitchFamily="34" charset="0"/>
                </a:rPr>
                <a:t>Hardware</a:t>
              </a:r>
            </a:p>
          </p:txBody>
        </p:sp>
        <p:sp>
          <p:nvSpPr>
            <p:cNvPr id="58" name="Rectangle 57">
              <a:extLst>
                <a:ext uri="{FF2B5EF4-FFF2-40B4-BE49-F238E27FC236}">
                  <a16:creationId xmlns:a16="http://schemas.microsoft.com/office/drawing/2014/main" id="{A90E6670-8B1D-47A5-9EF9-1E97854F71B5}"/>
                </a:ext>
              </a:extLst>
            </p:cNvPr>
            <p:cNvSpPr/>
            <p:nvPr/>
          </p:nvSpPr>
          <p:spPr bwMode="auto">
            <a:xfrm>
              <a:off x="4159200" y="6609811"/>
              <a:ext cx="4118074" cy="42656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429713" tIns="146285" rIns="182857" bIns="146285" numCol="1" spcCol="0" rtlCol="0" fromWordArt="0" anchor="ctr" anchorCtr="0" forceAA="0" compatLnSpc="1">
              <a:prstTxWarp prst="textNoShape">
                <a:avLst/>
              </a:prstTxWarp>
              <a:noAutofit/>
            </a:bodyPr>
            <a:lstStyle/>
            <a:p>
              <a:pPr marL="0" marR="0" lvl="0" indent="0" algn="ctr" defTabSz="932379" eaLnBrk="1" fontAlgn="base" latinLnBrk="0" hangingPunct="1">
                <a:lnSpc>
                  <a:spcPct val="90000"/>
                </a:lnSpc>
                <a:spcBef>
                  <a:spcPts val="600"/>
                </a:spcBef>
                <a:spcAft>
                  <a:spcPct val="0"/>
                </a:spcAft>
                <a:buClrTx/>
                <a:buSzTx/>
                <a:buFontTx/>
                <a:buNone/>
                <a:tabLst/>
                <a:defRPr/>
              </a:pPr>
              <a:r>
                <a:rPr kumimoji="0" lang="en-US" sz="1800" b="0" i="0" u="none" strike="noStrike" kern="0" cap="none" spc="0" normalizeH="0" baseline="0" noProof="0">
                  <a:ln>
                    <a:noFill/>
                  </a:ln>
                  <a:gradFill>
                    <a:gsLst>
                      <a:gs pos="15929">
                        <a:srgbClr val="353535"/>
                      </a:gs>
                      <a:gs pos="62000">
                        <a:srgbClr val="353535"/>
                      </a:gs>
                    </a:gsLst>
                    <a:lin ang="5400000" scaled="1"/>
                  </a:gradFill>
                  <a:effectLst/>
                  <a:uLnTx/>
                  <a:uFillTx/>
                  <a:latin typeface="Segoe UI Semibold" panose="020B0702040204020203" pitchFamily="34" charset="0"/>
                  <a:ea typeface="+mn-ea"/>
                  <a:cs typeface="Segoe UI Semibold" panose="020B0702040204020203" pitchFamily="34" charset="0"/>
                </a:rPr>
                <a:t>Datacenter</a:t>
              </a:r>
            </a:p>
          </p:txBody>
        </p:sp>
        <p:sp>
          <p:nvSpPr>
            <p:cNvPr id="59" name="Rectangle 58">
              <a:extLst>
                <a:ext uri="{FF2B5EF4-FFF2-40B4-BE49-F238E27FC236}">
                  <a16:creationId xmlns:a16="http://schemas.microsoft.com/office/drawing/2014/main" id="{B3407A8A-2DAC-4FAB-86C0-EF8BA95B3A17}"/>
                </a:ext>
              </a:extLst>
            </p:cNvPr>
            <p:cNvSpPr/>
            <p:nvPr/>
          </p:nvSpPr>
          <p:spPr bwMode="auto">
            <a:xfrm>
              <a:off x="8318404" y="6609811"/>
              <a:ext cx="4118071" cy="42656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429713" tIns="146285" rIns="182857" bIns="146285" numCol="1" spcCol="0" rtlCol="0" fromWordArt="0" anchor="ctr" anchorCtr="0" forceAA="0" compatLnSpc="1">
              <a:prstTxWarp prst="textNoShape">
                <a:avLst/>
              </a:prstTxWarp>
              <a:noAutofit/>
            </a:bodyPr>
            <a:lstStyle/>
            <a:p>
              <a:pPr marL="0" marR="0" lvl="0" indent="0" algn="ctr" defTabSz="932379" eaLnBrk="1" fontAlgn="base" latinLnBrk="0" hangingPunct="1">
                <a:lnSpc>
                  <a:spcPct val="90000"/>
                </a:lnSpc>
                <a:spcBef>
                  <a:spcPts val="600"/>
                </a:spcBef>
                <a:spcAft>
                  <a:spcPct val="0"/>
                </a:spcAft>
                <a:buClrTx/>
                <a:buSzTx/>
                <a:buFontTx/>
                <a:buNone/>
                <a:tabLst/>
                <a:defRPr/>
              </a:pPr>
              <a:r>
                <a:rPr kumimoji="0" lang="en-US" sz="1800" b="0" i="0" u="none" strike="noStrike" kern="0" cap="none" spc="0" normalizeH="0" baseline="0" noProof="0">
                  <a:ln>
                    <a:noFill/>
                  </a:ln>
                  <a:gradFill>
                    <a:gsLst>
                      <a:gs pos="15929">
                        <a:srgbClr val="353535"/>
                      </a:gs>
                      <a:gs pos="62000">
                        <a:srgbClr val="353535"/>
                      </a:gs>
                    </a:gsLst>
                    <a:lin ang="5400000" scaled="1"/>
                  </a:gradFill>
                  <a:effectLst/>
                  <a:uLnTx/>
                  <a:uFillTx/>
                  <a:latin typeface="Segoe UI Semibold" panose="020B0702040204020203" pitchFamily="34" charset="0"/>
                  <a:ea typeface="+mn-ea"/>
                  <a:cs typeface="Segoe UI Semibold" panose="020B0702040204020203" pitchFamily="34" charset="0"/>
                </a:rPr>
                <a:t>Region</a:t>
              </a:r>
            </a:p>
          </p:txBody>
        </p:sp>
      </p:grpSp>
      <p:sp>
        <p:nvSpPr>
          <p:cNvPr id="60" name="Oval 59">
            <a:extLst>
              <a:ext uri="{FF2B5EF4-FFF2-40B4-BE49-F238E27FC236}">
                <a16:creationId xmlns:a16="http://schemas.microsoft.com/office/drawing/2014/main" id="{5E658BC5-50FF-4AB1-9172-37F90B2A3426}"/>
              </a:ext>
            </a:extLst>
          </p:cNvPr>
          <p:cNvSpPr/>
          <p:nvPr/>
        </p:nvSpPr>
        <p:spPr bwMode="auto">
          <a:xfrm>
            <a:off x="1167235" y="2157270"/>
            <a:ext cx="1784122" cy="1784122"/>
          </a:xfrm>
          <a:prstGeom prst="ellipse">
            <a:avLst/>
          </a:pr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marL="0" marR="0" lvl="0" indent="0" defTabSz="9326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ndParaRPr>
          </a:p>
        </p:txBody>
      </p:sp>
      <p:sp>
        <p:nvSpPr>
          <p:cNvPr id="61" name="Oval 60">
            <a:extLst>
              <a:ext uri="{FF2B5EF4-FFF2-40B4-BE49-F238E27FC236}">
                <a16:creationId xmlns:a16="http://schemas.microsoft.com/office/drawing/2014/main" id="{709F9018-2454-4265-BDF7-D5B5519FF993}"/>
              </a:ext>
            </a:extLst>
          </p:cNvPr>
          <p:cNvSpPr/>
          <p:nvPr/>
        </p:nvSpPr>
        <p:spPr bwMode="auto">
          <a:xfrm>
            <a:off x="5325383" y="2157270"/>
            <a:ext cx="1784122" cy="1784122"/>
          </a:xfrm>
          <a:prstGeom prst="ellipse">
            <a:avLst/>
          </a:pr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marL="0" marR="0" lvl="0" indent="0" defTabSz="9326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ndParaRPr>
          </a:p>
        </p:txBody>
      </p:sp>
      <p:grpSp>
        <p:nvGrpSpPr>
          <p:cNvPr id="62" name="Group 61">
            <a:extLst>
              <a:ext uri="{FF2B5EF4-FFF2-40B4-BE49-F238E27FC236}">
                <a16:creationId xmlns:a16="http://schemas.microsoft.com/office/drawing/2014/main" id="{BDBE8E62-3E7C-46CB-8ED3-83BDF9948D23}"/>
              </a:ext>
            </a:extLst>
          </p:cNvPr>
          <p:cNvGrpSpPr/>
          <p:nvPr/>
        </p:nvGrpSpPr>
        <p:grpSpPr>
          <a:xfrm>
            <a:off x="1614474" y="2606505"/>
            <a:ext cx="889644" cy="296825"/>
            <a:chOff x="1596484" y="2974653"/>
            <a:chExt cx="889758" cy="296863"/>
          </a:xfrm>
        </p:grpSpPr>
        <p:sp>
          <p:nvSpPr>
            <p:cNvPr id="63" name="monitor_2">
              <a:extLst>
                <a:ext uri="{FF2B5EF4-FFF2-40B4-BE49-F238E27FC236}">
                  <a16:creationId xmlns:a16="http://schemas.microsoft.com/office/drawing/2014/main" id="{DD06FA98-DB93-4A90-8DAB-F77BFED9BF2C}"/>
                </a:ext>
              </a:extLst>
            </p:cNvPr>
            <p:cNvSpPr>
              <a:spLocks noChangeAspect="1" noEditPoints="1"/>
            </p:cNvSpPr>
            <p:nvPr/>
          </p:nvSpPr>
          <p:spPr bwMode="auto">
            <a:xfrm>
              <a:off x="1596484" y="2974653"/>
              <a:ext cx="387350" cy="296863"/>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marL="0" marR="0" lvl="0" indent="0" defTabSz="9326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ndParaRPr>
            </a:p>
          </p:txBody>
        </p:sp>
        <p:sp>
          <p:nvSpPr>
            <p:cNvPr id="64" name="monitor_2">
              <a:extLst>
                <a:ext uri="{FF2B5EF4-FFF2-40B4-BE49-F238E27FC236}">
                  <a16:creationId xmlns:a16="http://schemas.microsoft.com/office/drawing/2014/main" id="{FFA251C6-B5AE-4978-9F3C-316546A52DEF}"/>
                </a:ext>
              </a:extLst>
            </p:cNvPr>
            <p:cNvSpPr>
              <a:spLocks noChangeAspect="1" noEditPoints="1"/>
            </p:cNvSpPr>
            <p:nvPr/>
          </p:nvSpPr>
          <p:spPr bwMode="auto">
            <a:xfrm>
              <a:off x="2098892" y="2974653"/>
              <a:ext cx="387350" cy="296863"/>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marL="0" marR="0" lvl="0" indent="0" defTabSz="9326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ndParaRPr>
            </a:p>
          </p:txBody>
        </p:sp>
      </p:grpSp>
      <p:grpSp>
        <p:nvGrpSpPr>
          <p:cNvPr id="65" name="Group 64">
            <a:extLst>
              <a:ext uri="{FF2B5EF4-FFF2-40B4-BE49-F238E27FC236}">
                <a16:creationId xmlns:a16="http://schemas.microsoft.com/office/drawing/2014/main" id="{262F3E9C-25E9-4EAC-860D-5F3C80E07164}"/>
              </a:ext>
            </a:extLst>
          </p:cNvPr>
          <p:cNvGrpSpPr/>
          <p:nvPr/>
        </p:nvGrpSpPr>
        <p:grpSpPr>
          <a:xfrm>
            <a:off x="1633912" y="3205627"/>
            <a:ext cx="802936" cy="507546"/>
            <a:chOff x="1634119" y="3573851"/>
            <a:chExt cx="803039" cy="507611"/>
          </a:xfrm>
        </p:grpSpPr>
        <p:sp>
          <p:nvSpPr>
            <p:cNvPr id="66" name="monitor_2">
              <a:extLst>
                <a:ext uri="{FF2B5EF4-FFF2-40B4-BE49-F238E27FC236}">
                  <a16:creationId xmlns:a16="http://schemas.microsoft.com/office/drawing/2014/main" id="{E83C23B5-E645-40E4-9475-1573FCDFF6D7}"/>
                </a:ext>
              </a:extLst>
            </p:cNvPr>
            <p:cNvSpPr>
              <a:spLocks noChangeAspect="1" noEditPoints="1"/>
            </p:cNvSpPr>
            <p:nvPr/>
          </p:nvSpPr>
          <p:spPr bwMode="auto">
            <a:xfrm>
              <a:off x="1956504" y="3573851"/>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marL="0" marR="0" lvl="0" indent="0" defTabSz="9326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ndParaRPr>
            </a:p>
          </p:txBody>
        </p:sp>
        <p:sp>
          <p:nvSpPr>
            <p:cNvPr id="67" name="monitor_2">
              <a:extLst>
                <a:ext uri="{FF2B5EF4-FFF2-40B4-BE49-F238E27FC236}">
                  <a16:creationId xmlns:a16="http://schemas.microsoft.com/office/drawing/2014/main" id="{74265A2C-F00A-452B-BDD5-DAAC006DEE49}"/>
                </a:ext>
              </a:extLst>
            </p:cNvPr>
            <p:cNvSpPr>
              <a:spLocks noChangeAspect="1" noEditPoints="1"/>
            </p:cNvSpPr>
            <p:nvPr/>
          </p:nvSpPr>
          <p:spPr bwMode="auto">
            <a:xfrm>
              <a:off x="2183862" y="3815931"/>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marL="0" marR="0" lvl="0" indent="0" defTabSz="9326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ndParaRPr>
            </a:p>
          </p:txBody>
        </p:sp>
        <p:sp>
          <p:nvSpPr>
            <p:cNvPr id="68" name="monitor_2">
              <a:extLst>
                <a:ext uri="{FF2B5EF4-FFF2-40B4-BE49-F238E27FC236}">
                  <a16:creationId xmlns:a16="http://schemas.microsoft.com/office/drawing/2014/main" id="{C4E87E71-6808-4670-9F7C-BFE53D6C30A1}"/>
                </a:ext>
              </a:extLst>
            </p:cNvPr>
            <p:cNvSpPr>
              <a:spLocks noChangeAspect="1" noEditPoints="1"/>
            </p:cNvSpPr>
            <p:nvPr/>
          </p:nvSpPr>
          <p:spPr bwMode="auto">
            <a:xfrm>
              <a:off x="1634119" y="3612961"/>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marL="0" marR="0" lvl="0" indent="0" defTabSz="9326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ndParaRPr>
            </a:p>
          </p:txBody>
        </p:sp>
        <p:sp>
          <p:nvSpPr>
            <p:cNvPr id="69" name="monitor_2">
              <a:extLst>
                <a:ext uri="{FF2B5EF4-FFF2-40B4-BE49-F238E27FC236}">
                  <a16:creationId xmlns:a16="http://schemas.microsoft.com/office/drawing/2014/main" id="{2C7599D3-DF17-4FB4-9541-BE98CCA9C5E5}"/>
                </a:ext>
              </a:extLst>
            </p:cNvPr>
            <p:cNvSpPr>
              <a:spLocks noChangeAspect="1" noEditPoints="1"/>
            </p:cNvSpPr>
            <p:nvPr/>
          </p:nvSpPr>
          <p:spPr bwMode="auto">
            <a:xfrm>
              <a:off x="1870414" y="3887336"/>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marL="0" marR="0" lvl="0" indent="0" defTabSz="9326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ndParaRPr>
            </a:p>
          </p:txBody>
        </p:sp>
      </p:grpSp>
      <p:sp>
        <p:nvSpPr>
          <p:cNvPr id="70" name="Rectangle 69">
            <a:extLst>
              <a:ext uri="{FF2B5EF4-FFF2-40B4-BE49-F238E27FC236}">
                <a16:creationId xmlns:a16="http://schemas.microsoft.com/office/drawing/2014/main" id="{047F4CF7-742D-446A-882E-8690841A5FD4}"/>
              </a:ext>
            </a:extLst>
          </p:cNvPr>
          <p:cNvSpPr/>
          <p:nvPr/>
        </p:nvSpPr>
        <p:spPr bwMode="auto">
          <a:xfrm>
            <a:off x="1461360" y="2518380"/>
            <a:ext cx="1195874" cy="473074"/>
          </a:xfrm>
          <a:prstGeom prst="rect">
            <a:avLst/>
          </a:prstGeom>
          <a:noFill/>
          <a:ln w="22225" cap="flat" cmpd="sng" algn="ctr">
            <a:solidFill>
              <a:srgbClr val="00BCF2"/>
            </a:solidFill>
            <a:prstDash val="sysDash"/>
            <a:headEnd type="none" w="med" len="med"/>
            <a:tailEnd type="none" w="med" len="med"/>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marL="0" marR="0" lvl="0" indent="0" algn="ctr" defTabSz="9322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71" name="Straight Connector 70">
            <a:extLst>
              <a:ext uri="{FF2B5EF4-FFF2-40B4-BE49-F238E27FC236}">
                <a16:creationId xmlns:a16="http://schemas.microsoft.com/office/drawing/2014/main" id="{173775FE-E56A-4417-B52E-953F42316593}"/>
              </a:ext>
            </a:extLst>
          </p:cNvPr>
          <p:cNvCxnSpPr>
            <a:cxnSpLocks/>
          </p:cNvCxnSpPr>
          <p:nvPr/>
        </p:nvCxnSpPr>
        <p:spPr>
          <a:xfrm>
            <a:off x="11691425" y="1363702"/>
            <a:ext cx="381973" cy="507751"/>
          </a:xfrm>
          <a:prstGeom prst="line">
            <a:avLst/>
          </a:prstGeom>
          <a:noFill/>
          <a:ln w="22225" cap="flat" cmpd="sng" algn="ctr">
            <a:solidFill>
              <a:srgbClr val="00BCF2"/>
            </a:solidFill>
            <a:prstDash val="solid"/>
            <a:headEnd type="none"/>
            <a:tailEnd type="triangle" w="lg" len="med"/>
          </a:ln>
          <a:effectLst/>
        </p:spPr>
      </p:cxnSp>
      <p:grpSp>
        <p:nvGrpSpPr>
          <p:cNvPr id="72" name="Group 71">
            <a:extLst>
              <a:ext uri="{FF2B5EF4-FFF2-40B4-BE49-F238E27FC236}">
                <a16:creationId xmlns:a16="http://schemas.microsoft.com/office/drawing/2014/main" id="{ADAF3FE9-A642-4832-B5E4-9559D4C65D29}"/>
              </a:ext>
            </a:extLst>
          </p:cNvPr>
          <p:cNvGrpSpPr/>
          <p:nvPr/>
        </p:nvGrpSpPr>
        <p:grpSpPr>
          <a:xfrm>
            <a:off x="5940725" y="2946109"/>
            <a:ext cx="555626" cy="291423"/>
            <a:chOff x="5917470" y="3182700"/>
            <a:chExt cx="555697" cy="291460"/>
          </a:xfrm>
        </p:grpSpPr>
        <p:cxnSp>
          <p:nvCxnSpPr>
            <p:cNvPr id="73" name="Straight Arrow Connector 72">
              <a:extLst>
                <a:ext uri="{FF2B5EF4-FFF2-40B4-BE49-F238E27FC236}">
                  <a16:creationId xmlns:a16="http://schemas.microsoft.com/office/drawing/2014/main" id="{606D81B4-697B-4629-A00C-FD42DA08847E}"/>
                </a:ext>
              </a:extLst>
            </p:cNvPr>
            <p:cNvCxnSpPr>
              <a:cxnSpLocks/>
            </p:cNvCxnSpPr>
            <p:nvPr/>
          </p:nvCxnSpPr>
          <p:spPr>
            <a:xfrm flipV="1">
              <a:off x="5917470" y="3182700"/>
              <a:ext cx="226063" cy="221114"/>
            </a:xfrm>
            <a:prstGeom prst="straightConnector1">
              <a:avLst/>
            </a:prstGeom>
            <a:noFill/>
            <a:ln w="22225" cap="flat" cmpd="sng" algn="ctr">
              <a:solidFill>
                <a:srgbClr val="FFFFFF"/>
              </a:solidFill>
              <a:prstDash val="solid"/>
              <a:headEnd type="triangle"/>
              <a:tailEnd type="triangle"/>
            </a:ln>
            <a:effectLst/>
          </p:spPr>
        </p:cxnSp>
        <p:cxnSp>
          <p:nvCxnSpPr>
            <p:cNvPr id="74" name="Straight Arrow Connector 73">
              <a:extLst>
                <a:ext uri="{FF2B5EF4-FFF2-40B4-BE49-F238E27FC236}">
                  <a16:creationId xmlns:a16="http://schemas.microsoft.com/office/drawing/2014/main" id="{FF3544E1-B745-4F55-8404-79F46C9B8E47}"/>
                </a:ext>
              </a:extLst>
            </p:cNvPr>
            <p:cNvCxnSpPr>
              <a:cxnSpLocks/>
            </p:cNvCxnSpPr>
            <p:nvPr/>
          </p:nvCxnSpPr>
          <p:spPr>
            <a:xfrm flipH="1" flipV="1">
              <a:off x="6245724" y="3199830"/>
              <a:ext cx="227443" cy="194982"/>
            </a:xfrm>
            <a:prstGeom prst="straightConnector1">
              <a:avLst/>
            </a:prstGeom>
            <a:noFill/>
            <a:ln w="22225" cap="flat" cmpd="sng" algn="ctr">
              <a:solidFill>
                <a:srgbClr val="FFFFFF"/>
              </a:solidFill>
              <a:prstDash val="solid"/>
              <a:headEnd type="triangle"/>
              <a:tailEnd type="triangle"/>
            </a:ln>
            <a:effectLst/>
          </p:spPr>
        </p:cxnSp>
        <p:cxnSp>
          <p:nvCxnSpPr>
            <p:cNvPr id="75" name="Straight Arrow Connector 74">
              <a:extLst>
                <a:ext uri="{FF2B5EF4-FFF2-40B4-BE49-F238E27FC236}">
                  <a16:creationId xmlns:a16="http://schemas.microsoft.com/office/drawing/2014/main" id="{46861D88-EA9D-4C9A-BCC3-34BC08CAC04D}"/>
                </a:ext>
              </a:extLst>
            </p:cNvPr>
            <p:cNvCxnSpPr>
              <a:cxnSpLocks/>
            </p:cNvCxnSpPr>
            <p:nvPr/>
          </p:nvCxnSpPr>
          <p:spPr>
            <a:xfrm flipH="1">
              <a:off x="5955957" y="3474160"/>
              <a:ext cx="467590" cy="0"/>
            </a:xfrm>
            <a:prstGeom prst="straightConnector1">
              <a:avLst/>
            </a:prstGeom>
            <a:noFill/>
            <a:ln w="22225" cap="flat" cmpd="sng" algn="ctr">
              <a:solidFill>
                <a:srgbClr val="FFFFFF"/>
              </a:solidFill>
              <a:prstDash val="solid"/>
              <a:headEnd type="triangle"/>
              <a:tailEnd type="triangle"/>
            </a:ln>
            <a:effectLst/>
          </p:spPr>
        </p:cxnSp>
      </p:grpSp>
      <p:sp>
        <p:nvSpPr>
          <p:cNvPr id="76" name="Freeform 7">
            <a:extLst>
              <a:ext uri="{FF2B5EF4-FFF2-40B4-BE49-F238E27FC236}">
                <a16:creationId xmlns:a16="http://schemas.microsoft.com/office/drawing/2014/main" id="{5236380F-4F16-4875-AEC0-9D13C2020912}"/>
              </a:ext>
            </a:extLst>
          </p:cNvPr>
          <p:cNvSpPr>
            <a:spLocks noChangeAspect="1" noEditPoints="1"/>
          </p:cNvSpPr>
          <p:nvPr/>
        </p:nvSpPr>
        <p:spPr bwMode="auto">
          <a:xfrm>
            <a:off x="5598391" y="3019659"/>
            <a:ext cx="265493" cy="533036"/>
          </a:xfrm>
          <a:custGeom>
            <a:avLst/>
            <a:gdLst>
              <a:gd name="T0" fmla="*/ 0 w 777"/>
              <a:gd name="T1" fmla="*/ 0 h 1560"/>
              <a:gd name="T2" fmla="*/ 0 w 777"/>
              <a:gd name="T3" fmla="*/ 1560 h 1560"/>
              <a:gd name="T4" fmla="*/ 777 w 777"/>
              <a:gd name="T5" fmla="*/ 0 h 1560"/>
              <a:gd name="T6" fmla="*/ 777 w 777"/>
              <a:gd name="T7" fmla="*/ 1560 h 1560"/>
              <a:gd name="T8" fmla="*/ 777 w 777"/>
              <a:gd name="T9" fmla="*/ 0 h 1560"/>
              <a:gd name="T10" fmla="*/ 0 w 777"/>
              <a:gd name="T11" fmla="*/ 0 h 1560"/>
              <a:gd name="T12" fmla="*/ 777 w 777"/>
              <a:gd name="T13" fmla="*/ 1560 h 1560"/>
              <a:gd name="T14" fmla="*/ 0 w 777"/>
              <a:gd name="T15" fmla="*/ 1560 h 1560"/>
              <a:gd name="T16" fmla="*/ 685 w 777"/>
              <a:gd name="T17" fmla="*/ 333 h 1560"/>
              <a:gd name="T18" fmla="*/ 92 w 777"/>
              <a:gd name="T19" fmla="*/ 333 h 1560"/>
              <a:gd name="T20" fmla="*/ 685 w 777"/>
              <a:gd name="T21" fmla="*/ 158 h 1560"/>
              <a:gd name="T22" fmla="*/ 92 w 777"/>
              <a:gd name="T23" fmla="*/ 158 h 1560"/>
              <a:gd name="T24" fmla="*/ 685 w 777"/>
              <a:gd name="T25" fmla="*/ 512 h 1560"/>
              <a:gd name="T26" fmla="*/ 92 w 777"/>
              <a:gd name="T27" fmla="*/ 512 h 1560"/>
              <a:gd name="T28" fmla="*/ 685 w 777"/>
              <a:gd name="T29" fmla="*/ 691 h 1560"/>
              <a:gd name="T30" fmla="*/ 92 w 777"/>
              <a:gd name="T31" fmla="*/ 691 h 1560"/>
              <a:gd name="T32" fmla="*/ 685 w 777"/>
              <a:gd name="T33" fmla="*/ 871 h 1560"/>
              <a:gd name="T34" fmla="*/ 92 w 777"/>
              <a:gd name="T35" fmla="*/ 871 h 1560"/>
              <a:gd name="T36" fmla="*/ 685 w 777"/>
              <a:gd name="T37" fmla="*/ 1048 h 1560"/>
              <a:gd name="T38" fmla="*/ 92 w 777"/>
              <a:gd name="T39" fmla="*/ 1048 h 1560"/>
              <a:gd name="T40" fmla="*/ 685 w 777"/>
              <a:gd name="T41" fmla="*/ 1227 h 1560"/>
              <a:gd name="T42" fmla="*/ 92 w 777"/>
              <a:gd name="T43" fmla="*/ 1227 h 1560"/>
              <a:gd name="T44" fmla="*/ 685 w 777"/>
              <a:gd name="T45" fmla="*/ 1402 h 1560"/>
              <a:gd name="T46" fmla="*/ 92 w 777"/>
              <a:gd name="T47" fmla="*/ 1402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7" h="1560">
                <a:moveTo>
                  <a:pt x="0" y="0"/>
                </a:moveTo>
                <a:lnTo>
                  <a:pt x="0" y="1560"/>
                </a:lnTo>
                <a:moveTo>
                  <a:pt x="777" y="0"/>
                </a:moveTo>
                <a:lnTo>
                  <a:pt x="777" y="1560"/>
                </a:lnTo>
                <a:moveTo>
                  <a:pt x="777" y="0"/>
                </a:moveTo>
                <a:lnTo>
                  <a:pt x="0" y="0"/>
                </a:lnTo>
                <a:moveTo>
                  <a:pt x="777" y="1560"/>
                </a:moveTo>
                <a:lnTo>
                  <a:pt x="0" y="1560"/>
                </a:lnTo>
                <a:moveTo>
                  <a:pt x="685" y="333"/>
                </a:moveTo>
                <a:lnTo>
                  <a:pt x="92" y="333"/>
                </a:lnTo>
                <a:moveTo>
                  <a:pt x="685" y="158"/>
                </a:moveTo>
                <a:lnTo>
                  <a:pt x="92" y="158"/>
                </a:lnTo>
                <a:moveTo>
                  <a:pt x="685" y="512"/>
                </a:moveTo>
                <a:lnTo>
                  <a:pt x="92" y="512"/>
                </a:lnTo>
                <a:moveTo>
                  <a:pt x="685" y="691"/>
                </a:moveTo>
                <a:lnTo>
                  <a:pt x="92" y="691"/>
                </a:lnTo>
                <a:moveTo>
                  <a:pt x="685" y="871"/>
                </a:moveTo>
                <a:lnTo>
                  <a:pt x="92" y="871"/>
                </a:lnTo>
                <a:moveTo>
                  <a:pt x="685" y="1048"/>
                </a:moveTo>
                <a:lnTo>
                  <a:pt x="92" y="1048"/>
                </a:lnTo>
                <a:moveTo>
                  <a:pt x="685" y="1227"/>
                </a:moveTo>
                <a:lnTo>
                  <a:pt x="92" y="1227"/>
                </a:lnTo>
                <a:moveTo>
                  <a:pt x="685" y="1402"/>
                </a:moveTo>
                <a:lnTo>
                  <a:pt x="92" y="1402"/>
                </a:lnTo>
              </a:path>
            </a:pathLst>
          </a:custGeom>
          <a:noFill/>
          <a:ln w="22225" cap="sq">
            <a:solidFill>
              <a:srgbClr val="FFFF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defTabSz="932649">
              <a:defRPr/>
            </a:pPr>
            <a:endParaRPr lang="en-US">
              <a:solidFill>
                <a:srgbClr val="353535"/>
              </a:solidFill>
              <a:latin typeface="Segoe UI Semilight"/>
            </a:endParaRPr>
          </a:p>
        </p:txBody>
      </p:sp>
      <p:sp>
        <p:nvSpPr>
          <p:cNvPr id="77" name="Freeform 7">
            <a:extLst>
              <a:ext uri="{FF2B5EF4-FFF2-40B4-BE49-F238E27FC236}">
                <a16:creationId xmlns:a16="http://schemas.microsoft.com/office/drawing/2014/main" id="{20352198-D83E-4865-90F2-0728705997A4}"/>
              </a:ext>
            </a:extLst>
          </p:cNvPr>
          <p:cNvSpPr>
            <a:spLocks noChangeAspect="1" noEditPoints="1"/>
          </p:cNvSpPr>
          <p:nvPr/>
        </p:nvSpPr>
        <p:spPr bwMode="auto">
          <a:xfrm>
            <a:off x="6548915" y="3019659"/>
            <a:ext cx="265493" cy="533036"/>
          </a:xfrm>
          <a:custGeom>
            <a:avLst/>
            <a:gdLst>
              <a:gd name="T0" fmla="*/ 0 w 777"/>
              <a:gd name="T1" fmla="*/ 0 h 1560"/>
              <a:gd name="T2" fmla="*/ 0 w 777"/>
              <a:gd name="T3" fmla="*/ 1560 h 1560"/>
              <a:gd name="T4" fmla="*/ 777 w 777"/>
              <a:gd name="T5" fmla="*/ 0 h 1560"/>
              <a:gd name="T6" fmla="*/ 777 w 777"/>
              <a:gd name="T7" fmla="*/ 1560 h 1560"/>
              <a:gd name="T8" fmla="*/ 777 w 777"/>
              <a:gd name="T9" fmla="*/ 0 h 1560"/>
              <a:gd name="T10" fmla="*/ 0 w 777"/>
              <a:gd name="T11" fmla="*/ 0 h 1560"/>
              <a:gd name="T12" fmla="*/ 777 w 777"/>
              <a:gd name="T13" fmla="*/ 1560 h 1560"/>
              <a:gd name="T14" fmla="*/ 0 w 777"/>
              <a:gd name="T15" fmla="*/ 1560 h 1560"/>
              <a:gd name="T16" fmla="*/ 685 w 777"/>
              <a:gd name="T17" fmla="*/ 333 h 1560"/>
              <a:gd name="T18" fmla="*/ 92 w 777"/>
              <a:gd name="T19" fmla="*/ 333 h 1560"/>
              <a:gd name="T20" fmla="*/ 685 w 777"/>
              <a:gd name="T21" fmla="*/ 158 h 1560"/>
              <a:gd name="T22" fmla="*/ 92 w 777"/>
              <a:gd name="T23" fmla="*/ 158 h 1560"/>
              <a:gd name="T24" fmla="*/ 685 w 777"/>
              <a:gd name="T25" fmla="*/ 512 h 1560"/>
              <a:gd name="T26" fmla="*/ 92 w 777"/>
              <a:gd name="T27" fmla="*/ 512 h 1560"/>
              <a:gd name="T28" fmla="*/ 685 w 777"/>
              <a:gd name="T29" fmla="*/ 691 h 1560"/>
              <a:gd name="T30" fmla="*/ 92 w 777"/>
              <a:gd name="T31" fmla="*/ 691 h 1560"/>
              <a:gd name="T32" fmla="*/ 685 w 777"/>
              <a:gd name="T33" fmla="*/ 871 h 1560"/>
              <a:gd name="T34" fmla="*/ 92 w 777"/>
              <a:gd name="T35" fmla="*/ 871 h 1560"/>
              <a:gd name="T36" fmla="*/ 685 w 777"/>
              <a:gd name="T37" fmla="*/ 1048 h 1560"/>
              <a:gd name="T38" fmla="*/ 92 w 777"/>
              <a:gd name="T39" fmla="*/ 1048 h 1560"/>
              <a:gd name="T40" fmla="*/ 685 w 777"/>
              <a:gd name="T41" fmla="*/ 1227 h 1560"/>
              <a:gd name="T42" fmla="*/ 92 w 777"/>
              <a:gd name="T43" fmla="*/ 1227 h 1560"/>
              <a:gd name="T44" fmla="*/ 685 w 777"/>
              <a:gd name="T45" fmla="*/ 1402 h 1560"/>
              <a:gd name="T46" fmla="*/ 92 w 777"/>
              <a:gd name="T47" fmla="*/ 1402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7" h="1560">
                <a:moveTo>
                  <a:pt x="0" y="0"/>
                </a:moveTo>
                <a:lnTo>
                  <a:pt x="0" y="1560"/>
                </a:lnTo>
                <a:moveTo>
                  <a:pt x="777" y="0"/>
                </a:moveTo>
                <a:lnTo>
                  <a:pt x="777" y="1560"/>
                </a:lnTo>
                <a:moveTo>
                  <a:pt x="777" y="0"/>
                </a:moveTo>
                <a:lnTo>
                  <a:pt x="0" y="0"/>
                </a:lnTo>
                <a:moveTo>
                  <a:pt x="777" y="1560"/>
                </a:moveTo>
                <a:lnTo>
                  <a:pt x="0" y="1560"/>
                </a:lnTo>
                <a:moveTo>
                  <a:pt x="685" y="333"/>
                </a:moveTo>
                <a:lnTo>
                  <a:pt x="92" y="333"/>
                </a:lnTo>
                <a:moveTo>
                  <a:pt x="685" y="158"/>
                </a:moveTo>
                <a:lnTo>
                  <a:pt x="92" y="158"/>
                </a:lnTo>
                <a:moveTo>
                  <a:pt x="685" y="512"/>
                </a:moveTo>
                <a:lnTo>
                  <a:pt x="92" y="512"/>
                </a:lnTo>
                <a:moveTo>
                  <a:pt x="685" y="691"/>
                </a:moveTo>
                <a:lnTo>
                  <a:pt x="92" y="691"/>
                </a:lnTo>
                <a:moveTo>
                  <a:pt x="685" y="871"/>
                </a:moveTo>
                <a:lnTo>
                  <a:pt x="92" y="871"/>
                </a:lnTo>
                <a:moveTo>
                  <a:pt x="685" y="1048"/>
                </a:moveTo>
                <a:lnTo>
                  <a:pt x="92" y="1048"/>
                </a:lnTo>
                <a:moveTo>
                  <a:pt x="685" y="1227"/>
                </a:moveTo>
                <a:lnTo>
                  <a:pt x="92" y="1227"/>
                </a:lnTo>
                <a:moveTo>
                  <a:pt x="685" y="1402"/>
                </a:moveTo>
                <a:lnTo>
                  <a:pt x="92" y="1402"/>
                </a:lnTo>
              </a:path>
            </a:pathLst>
          </a:custGeom>
          <a:noFill/>
          <a:ln w="22225" cap="sq">
            <a:solidFill>
              <a:srgbClr val="FFFF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defTabSz="932649">
              <a:defRPr/>
            </a:pPr>
            <a:endParaRPr lang="en-US">
              <a:solidFill>
                <a:srgbClr val="353535"/>
              </a:solidFill>
              <a:latin typeface="Segoe UI Semilight"/>
            </a:endParaRPr>
          </a:p>
        </p:txBody>
      </p:sp>
      <p:sp>
        <p:nvSpPr>
          <p:cNvPr id="78" name="Freeform 7">
            <a:extLst>
              <a:ext uri="{FF2B5EF4-FFF2-40B4-BE49-F238E27FC236}">
                <a16:creationId xmlns:a16="http://schemas.microsoft.com/office/drawing/2014/main" id="{F0AD4285-F8F1-4386-9A8D-49024262E2DB}"/>
              </a:ext>
            </a:extLst>
          </p:cNvPr>
          <p:cNvSpPr>
            <a:spLocks noChangeAspect="1" noEditPoints="1"/>
          </p:cNvSpPr>
          <p:nvPr/>
        </p:nvSpPr>
        <p:spPr bwMode="auto">
          <a:xfrm>
            <a:off x="6080225" y="2337029"/>
            <a:ext cx="265493" cy="533036"/>
          </a:xfrm>
          <a:custGeom>
            <a:avLst/>
            <a:gdLst>
              <a:gd name="T0" fmla="*/ 0 w 777"/>
              <a:gd name="T1" fmla="*/ 0 h 1560"/>
              <a:gd name="T2" fmla="*/ 0 w 777"/>
              <a:gd name="T3" fmla="*/ 1560 h 1560"/>
              <a:gd name="T4" fmla="*/ 777 w 777"/>
              <a:gd name="T5" fmla="*/ 0 h 1560"/>
              <a:gd name="T6" fmla="*/ 777 w 777"/>
              <a:gd name="T7" fmla="*/ 1560 h 1560"/>
              <a:gd name="T8" fmla="*/ 777 w 777"/>
              <a:gd name="T9" fmla="*/ 0 h 1560"/>
              <a:gd name="T10" fmla="*/ 0 w 777"/>
              <a:gd name="T11" fmla="*/ 0 h 1560"/>
              <a:gd name="T12" fmla="*/ 777 w 777"/>
              <a:gd name="T13" fmla="*/ 1560 h 1560"/>
              <a:gd name="T14" fmla="*/ 0 w 777"/>
              <a:gd name="T15" fmla="*/ 1560 h 1560"/>
              <a:gd name="T16" fmla="*/ 685 w 777"/>
              <a:gd name="T17" fmla="*/ 333 h 1560"/>
              <a:gd name="T18" fmla="*/ 92 w 777"/>
              <a:gd name="T19" fmla="*/ 333 h 1560"/>
              <a:gd name="T20" fmla="*/ 685 w 777"/>
              <a:gd name="T21" fmla="*/ 158 h 1560"/>
              <a:gd name="T22" fmla="*/ 92 w 777"/>
              <a:gd name="T23" fmla="*/ 158 h 1560"/>
              <a:gd name="T24" fmla="*/ 685 w 777"/>
              <a:gd name="T25" fmla="*/ 512 h 1560"/>
              <a:gd name="T26" fmla="*/ 92 w 777"/>
              <a:gd name="T27" fmla="*/ 512 h 1560"/>
              <a:gd name="T28" fmla="*/ 685 w 777"/>
              <a:gd name="T29" fmla="*/ 691 h 1560"/>
              <a:gd name="T30" fmla="*/ 92 w 777"/>
              <a:gd name="T31" fmla="*/ 691 h 1560"/>
              <a:gd name="T32" fmla="*/ 685 w 777"/>
              <a:gd name="T33" fmla="*/ 871 h 1560"/>
              <a:gd name="T34" fmla="*/ 92 w 777"/>
              <a:gd name="T35" fmla="*/ 871 h 1560"/>
              <a:gd name="T36" fmla="*/ 685 w 777"/>
              <a:gd name="T37" fmla="*/ 1048 h 1560"/>
              <a:gd name="T38" fmla="*/ 92 w 777"/>
              <a:gd name="T39" fmla="*/ 1048 h 1560"/>
              <a:gd name="T40" fmla="*/ 685 w 777"/>
              <a:gd name="T41" fmla="*/ 1227 h 1560"/>
              <a:gd name="T42" fmla="*/ 92 w 777"/>
              <a:gd name="T43" fmla="*/ 1227 h 1560"/>
              <a:gd name="T44" fmla="*/ 685 w 777"/>
              <a:gd name="T45" fmla="*/ 1402 h 1560"/>
              <a:gd name="T46" fmla="*/ 92 w 777"/>
              <a:gd name="T47" fmla="*/ 1402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7" h="1560">
                <a:moveTo>
                  <a:pt x="0" y="0"/>
                </a:moveTo>
                <a:lnTo>
                  <a:pt x="0" y="1560"/>
                </a:lnTo>
                <a:moveTo>
                  <a:pt x="777" y="0"/>
                </a:moveTo>
                <a:lnTo>
                  <a:pt x="777" y="1560"/>
                </a:lnTo>
                <a:moveTo>
                  <a:pt x="777" y="0"/>
                </a:moveTo>
                <a:lnTo>
                  <a:pt x="0" y="0"/>
                </a:lnTo>
                <a:moveTo>
                  <a:pt x="777" y="1560"/>
                </a:moveTo>
                <a:lnTo>
                  <a:pt x="0" y="1560"/>
                </a:lnTo>
                <a:moveTo>
                  <a:pt x="685" y="333"/>
                </a:moveTo>
                <a:lnTo>
                  <a:pt x="92" y="333"/>
                </a:lnTo>
                <a:moveTo>
                  <a:pt x="685" y="158"/>
                </a:moveTo>
                <a:lnTo>
                  <a:pt x="92" y="158"/>
                </a:lnTo>
                <a:moveTo>
                  <a:pt x="685" y="512"/>
                </a:moveTo>
                <a:lnTo>
                  <a:pt x="92" y="512"/>
                </a:lnTo>
                <a:moveTo>
                  <a:pt x="685" y="691"/>
                </a:moveTo>
                <a:lnTo>
                  <a:pt x="92" y="691"/>
                </a:lnTo>
                <a:moveTo>
                  <a:pt x="685" y="871"/>
                </a:moveTo>
                <a:lnTo>
                  <a:pt x="92" y="871"/>
                </a:lnTo>
                <a:moveTo>
                  <a:pt x="685" y="1048"/>
                </a:moveTo>
                <a:lnTo>
                  <a:pt x="92" y="1048"/>
                </a:lnTo>
                <a:moveTo>
                  <a:pt x="685" y="1227"/>
                </a:moveTo>
                <a:lnTo>
                  <a:pt x="92" y="1227"/>
                </a:lnTo>
                <a:moveTo>
                  <a:pt x="685" y="1402"/>
                </a:moveTo>
                <a:lnTo>
                  <a:pt x="92" y="1402"/>
                </a:lnTo>
              </a:path>
            </a:pathLst>
          </a:custGeom>
          <a:noFill/>
          <a:ln w="22225" cap="sq">
            <a:solidFill>
              <a:srgbClr val="FFFF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defTabSz="932649">
              <a:defRPr/>
            </a:pPr>
            <a:endParaRPr lang="en-US">
              <a:solidFill>
                <a:srgbClr val="353535"/>
              </a:solidFill>
              <a:latin typeface="Segoe UI Semilight"/>
            </a:endParaRPr>
          </a:p>
        </p:txBody>
      </p:sp>
      <p:sp>
        <p:nvSpPr>
          <p:cNvPr id="79" name="Freeform 11">
            <a:extLst>
              <a:ext uri="{FF2B5EF4-FFF2-40B4-BE49-F238E27FC236}">
                <a16:creationId xmlns:a16="http://schemas.microsoft.com/office/drawing/2014/main" id="{7C19A5CC-C21D-4C4F-9396-F3567359178C}"/>
              </a:ext>
            </a:extLst>
          </p:cNvPr>
          <p:cNvSpPr>
            <a:spLocks/>
          </p:cNvSpPr>
          <p:nvPr/>
        </p:nvSpPr>
        <p:spPr bwMode="auto">
          <a:xfrm>
            <a:off x="10568266" y="2849615"/>
            <a:ext cx="565798" cy="361891"/>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defTabSz="932649">
              <a:defRPr/>
            </a:pPr>
            <a:endParaRPr lang="en-US">
              <a:solidFill>
                <a:srgbClr val="353535"/>
              </a:solidFill>
              <a:latin typeface="Segoe UI Semilight"/>
            </a:endParaRPr>
          </a:p>
        </p:txBody>
      </p:sp>
      <p:sp>
        <p:nvSpPr>
          <p:cNvPr id="80" name="Freeform 11">
            <a:extLst>
              <a:ext uri="{FF2B5EF4-FFF2-40B4-BE49-F238E27FC236}">
                <a16:creationId xmlns:a16="http://schemas.microsoft.com/office/drawing/2014/main" id="{55CBE8E2-A124-4635-9162-7A5CFC65A89D}"/>
              </a:ext>
            </a:extLst>
          </p:cNvPr>
          <p:cNvSpPr>
            <a:spLocks/>
          </p:cNvSpPr>
          <p:nvPr/>
        </p:nvSpPr>
        <p:spPr bwMode="auto">
          <a:xfrm>
            <a:off x="9621438" y="2849615"/>
            <a:ext cx="565798" cy="361891"/>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pPr defTabSz="932649">
              <a:defRPr/>
            </a:pPr>
            <a:endParaRPr lang="en-US">
              <a:solidFill>
                <a:srgbClr val="353535"/>
              </a:solidFill>
              <a:latin typeface="Segoe UI Semilight"/>
            </a:endParaRPr>
          </a:p>
        </p:txBody>
      </p:sp>
      <p:sp>
        <p:nvSpPr>
          <p:cNvPr id="81" name="Rectangle 80">
            <a:extLst>
              <a:ext uri="{FF2B5EF4-FFF2-40B4-BE49-F238E27FC236}">
                <a16:creationId xmlns:a16="http://schemas.microsoft.com/office/drawing/2014/main" id="{8E1CD9C3-7F40-44EF-960D-7AEF106EB548}"/>
              </a:ext>
            </a:extLst>
          </p:cNvPr>
          <p:cNvSpPr/>
          <p:nvPr/>
        </p:nvSpPr>
        <p:spPr bwMode="auto">
          <a:xfrm>
            <a:off x="8691674" y="2002521"/>
            <a:ext cx="3515785" cy="2197476"/>
          </a:xfrm>
          <a:prstGeom prst="rect">
            <a:avLst/>
          </a:prstGeom>
          <a:noFill/>
          <a:ln w="22225" cap="flat" cmpd="sng" algn="ctr">
            <a:solidFill>
              <a:srgbClr val="0078D7"/>
            </a:solidFill>
            <a:prstDash val="sysDash"/>
            <a:headEnd type="none" w="med" len="med"/>
            <a:tailEnd type="none" w="med" len="med"/>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marL="0" marR="0" lvl="0" indent="0" algn="ctr" defTabSz="9322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2" name="Rectangle 81">
            <a:extLst>
              <a:ext uri="{FF2B5EF4-FFF2-40B4-BE49-F238E27FC236}">
                <a16:creationId xmlns:a16="http://schemas.microsoft.com/office/drawing/2014/main" id="{2435E283-B044-4D7E-B99C-D7154085A449}"/>
              </a:ext>
            </a:extLst>
          </p:cNvPr>
          <p:cNvSpPr/>
          <p:nvPr/>
        </p:nvSpPr>
        <p:spPr bwMode="auto">
          <a:xfrm>
            <a:off x="9071718" y="3992246"/>
            <a:ext cx="2881670" cy="358037"/>
          </a:xfrm>
          <a:prstGeom prst="rect">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11"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1770">
                      <a:srgbClr val="FFFFFF"/>
                    </a:gs>
                    <a:gs pos="2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ata Residency boundary</a:t>
            </a:r>
          </a:p>
        </p:txBody>
      </p:sp>
    </p:spTree>
    <p:extLst>
      <p:ext uri="{BB962C8B-B14F-4D97-AF65-F5344CB8AC3E}">
        <p14:creationId xmlns:p14="http://schemas.microsoft.com/office/powerpoint/2010/main" val="218564250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ell phone&#10;&#10;Description generated with very high confidence">
            <a:extLst>
              <a:ext uri="{FF2B5EF4-FFF2-40B4-BE49-F238E27FC236}">
                <a16:creationId xmlns:a16="http://schemas.microsoft.com/office/drawing/2014/main" id="{95337A5D-4A70-4BA3-89CD-E8C8A0B853E6}"/>
              </a:ext>
            </a:extLst>
          </p:cNvPr>
          <p:cNvPicPr>
            <a:picLocks noChangeAspect="1"/>
          </p:cNvPicPr>
          <p:nvPr/>
        </p:nvPicPr>
        <p:blipFill>
          <a:blip r:embed="rId3"/>
          <a:stretch>
            <a:fillRect/>
          </a:stretch>
        </p:blipFill>
        <p:spPr>
          <a:xfrm>
            <a:off x="8062415" y="3716619"/>
            <a:ext cx="2471533" cy="2583311"/>
          </a:xfrm>
          <a:prstGeom prst="rect">
            <a:avLst/>
          </a:prstGeom>
        </p:spPr>
      </p:pic>
      <p:pic>
        <p:nvPicPr>
          <p:cNvPr id="4" name="Picture 3" descr="A close up of a sign&#10;&#10;Description generated with very high confidence"/>
          <p:cNvPicPr>
            <a:picLocks noChangeAspect="1"/>
          </p:cNvPicPr>
          <p:nvPr/>
        </p:nvPicPr>
        <p:blipFill rotWithShape="1">
          <a:blip r:embed="rId4" cstate="screen">
            <a:extLst>
              <a:ext uri="{28A0092B-C50C-407E-A947-70E740481C1C}">
                <a14:useLocalDpi xmlns:a14="http://schemas.microsoft.com/office/drawing/2010/main"/>
              </a:ext>
            </a:extLst>
          </a:blip>
          <a:srcRect r="8238"/>
          <a:stretch/>
        </p:blipFill>
        <p:spPr>
          <a:xfrm>
            <a:off x="8177689" y="657268"/>
            <a:ext cx="1516890" cy="2592637"/>
          </a:xfrm>
          <a:prstGeom prst="rect">
            <a:avLst/>
          </a:prstGeom>
        </p:spPr>
      </p:pic>
      <p:sp>
        <p:nvSpPr>
          <p:cNvPr id="7" name="Text Placeholder 1">
            <a:extLst>
              <a:ext uri="{FF2B5EF4-FFF2-40B4-BE49-F238E27FC236}">
                <a16:creationId xmlns:a16="http://schemas.microsoft.com/office/drawing/2014/main" id="{48734CCF-FAC4-4188-AC4B-64AA7F9CB6D9}"/>
              </a:ext>
            </a:extLst>
          </p:cNvPr>
          <p:cNvSpPr>
            <a:spLocks noGrp="1"/>
          </p:cNvSpPr>
          <p:nvPr>
            <p:ph type="body" sz="quarter" idx="10"/>
          </p:nvPr>
        </p:nvSpPr>
        <p:spPr>
          <a:xfrm>
            <a:off x="854898" y="1901075"/>
            <a:ext cx="5080979" cy="4398855"/>
          </a:xfrm>
        </p:spPr>
        <p:txBody>
          <a:bodyPr vert="horz" lIns="91440" tIns="45720" rIns="91440" bIns="45720" rtlCol="0">
            <a:normAutofit fontScale="92500" lnSpcReduction="20000"/>
          </a:bodyPr>
          <a:lstStyle/>
          <a:p>
            <a:pPr marL="0" indent="0">
              <a:buNone/>
            </a:pPr>
            <a:r>
              <a:rPr lang="en-US" sz="3500" dirty="0">
                <a:solidFill>
                  <a:schemeClr val="accent1"/>
                </a:solidFill>
              </a:rPr>
              <a:t>VHD Format</a:t>
            </a:r>
            <a:r>
              <a:rPr lang="en-US" dirty="0">
                <a:solidFill>
                  <a:schemeClr val="accent1"/>
                </a:solidFill>
              </a:rPr>
              <a:t> </a:t>
            </a:r>
          </a:p>
          <a:p>
            <a:pPr marL="342900" lvl="1" indent="-228600" defTabSz="914400"/>
            <a:r>
              <a:rPr lang="en-US" sz="2000" dirty="0">
                <a:solidFill>
                  <a:schemeClr val="tx1"/>
                </a:solidFill>
              </a:rPr>
              <a:t>OS | Persistent </a:t>
            </a:r>
          </a:p>
          <a:p>
            <a:pPr marL="342900" lvl="1" indent="-228600" defTabSz="914400"/>
            <a:r>
              <a:rPr lang="en-US" sz="2000" dirty="0">
                <a:solidFill>
                  <a:schemeClr val="tx1"/>
                </a:solidFill>
              </a:rPr>
              <a:t>SSD (Premium) | HDD</a:t>
            </a:r>
          </a:p>
          <a:p>
            <a:pPr marL="342900" lvl="1" indent="-228600" defTabSz="914400"/>
            <a:r>
              <a:rPr lang="en-US" sz="2000" dirty="0">
                <a:solidFill>
                  <a:schemeClr val="tx1"/>
                </a:solidFill>
              </a:rPr>
              <a:t>Temp Drive | temporary</a:t>
            </a:r>
          </a:p>
          <a:p>
            <a:pPr marL="342900" lvl="1" indent="-228600" defTabSz="914400"/>
            <a:r>
              <a:rPr lang="en-US" sz="2000" dirty="0">
                <a:solidFill>
                  <a:schemeClr val="tx1"/>
                </a:solidFill>
              </a:rPr>
              <a:t>Stored by default as Managed Disks, optionally Storage Accounts</a:t>
            </a:r>
          </a:p>
          <a:p>
            <a:pPr marL="0" lvl="1" indent="-228600" defTabSz="914400"/>
            <a:endParaRPr lang="en-US" sz="2000" dirty="0">
              <a:solidFill>
                <a:schemeClr val="tx1"/>
              </a:solidFill>
            </a:endParaRPr>
          </a:p>
          <a:p>
            <a:pPr marL="0" indent="0">
              <a:lnSpc>
                <a:spcPct val="100000"/>
              </a:lnSpc>
              <a:buNone/>
            </a:pPr>
            <a:r>
              <a:rPr lang="en-US" sz="3500" dirty="0">
                <a:solidFill>
                  <a:schemeClr val="accent1"/>
                </a:solidFill>
              </a:rPr>
              <a:t>Data Disks</a:t>
            </a:r>
          </a:p>
          <a:p>
            <a:pPr marL="342900" lvl="1" indent="-228600" defTabSz="914400"/>
            <a:r>
              <a:rPr lang="en-US" sz="2000" dirty="0">
                <a:solidFill>
                  <a:schemeClr val="tx1"/>
                </a:solidFill>
              </a:rPr>
              <a:t># Data Disks determined by </a:t>
            </a:r>
            <a:r>
              <a:rPr lang="en-US" sz="2000" dirty="0">
                <a:solidFill>
                  <a:schemeClr val="tx1"/>
                </a:solidFill>
                <a:hlinkClick r:id="rId5"/>
              </a:rPr>
              <a:t>size</a:t>
            </a:r>
            <a:endParaRPr lang="en-US" sz="2000" dirty="0">
              <a:solidFill>
                <a:schemeClr val="tx1"/>
              </a:solidFill>
            </a:endParaRPr>
          </a:p>
          <a:p>
            <a:pPr marL="0" lvl="1" indent="-228600" defTabSz="914400"/>
            <a:endParaRPr lang="en-US" sz="2000" dirty="0">
              <a:solidFill>
                <a:schemeClr val="tx1"/>
              </a:solidFill>
            </a:endParaRPr>
          </a:p>
          <a:p>
            <a:pPr marL="0" indent="0">
              <a:lnSpc>
                <a:spcPct val="100000"/>
              </a:lnSpc>
              <a:buNone/>
            </a:pPr>
            <a:r>
              <a:rPr lang="en-US" sz="3500" dirty="0">
                <a:solidFill>
                  <a:schemeClr val="accent1"/>
                </a:solidFill>
              </a:rPr>
              <a:t>Diagnostics</a:t>
            </a:r>
          </a:p>
          <a:p>
            <a:pPr marL="342900" lvl="1" indent="-228600" defTabSz="914400"/>
            <a:r>
              <a:rPr lang="en-US" sz="2000" dirty="0">
                <a:solidFill>
                  <a:schemeClr val="tx1"/>
                </a:solidFill>
              </a:rPr>
              <a:t>Boot and/or Guest OS</a:t>
            </a:r>
          </a:p>
          <a:p>
            <a:pPr marL="342900" lvl="1" indent="-228600" defTabSz="914400"/>
            <a:r>
              <a:rPr lang="en-US" sz="2000" dirty="0">
                <a:solidFill>
                  <a:schemeClr val="tx1"/>
                </a:solidFill>
              </a:rPr>
              <a:t>Store in storage account</a:t>
            </a:r>
          </a:p>
          <a:p>
            <a:pPr marL="0" lvl="1" indent="-228600" defTabSz="914400"/>
            <a:endParaRPr lang="en-US" sz="2000" dirty="0">
              <a:solidFill>
                <a:schemeClr val="tx1"/>
              </a:solidFill>
            </a:endParaRPr>
          </a:p>
        </p:txBody>
      </p:sp>
      <p:sp>
        <p:nvSpPr>
          <p:cNvPr id="6" name="Title 2"/>
          <p:cNvSpPr txBox="1">
            <a:spLocks/>
          </p:cNvSpPr>
          <p:nvPr/>
        </p:nvSpPr>
        <p:spPr>
          <a:xfrm>
            <a:off x="854898" y="372393"/>
            <a:ext cx="5080979" cy="1236449"/>
          </a:xfrm>
          <a:prstGeom prst="rect">
            <a:avLst/>
          </a:prstGeom>
        </p:spPr>
        <p:txBody>
          <a:bodyPr vert="horz" lIns="91440" tIns="45720" rIns="91440" bIns="45720" rtlCol="0" anchor="b">
            <a:norm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400">
              <a:spcAft>
                <a:spcPts val="600"/>
              </a:spcAft>
            </a:pPr>
            <a:endParaRPr lang="en-US" sz="4000" dirty="0">
              <a:solidFill>
                <a:schemeClr val="tx1"/>
              </a:solidFill>
              <a:ea typeface="+mj-ea"/>
              <a:cs typeface="+mj-cs"/>
            </a:endParaRPr>
          </a:p>
        </p:txBody>
      </p:sp>
      <p:sp>
        <p:nvSpPr>
          <p:cNvPr id="12" name="Title 2">
            <a:extLst>
              <a:ext uri="{FF2B5EF4-FFF2-40B4-BE49-F238E27FC236}">
                <a16:creationId xmlns:a16="http://schemas.microsoft.com/office/drawing/2014/main" id="{E2049AEE-E324-4BB1-A9B3-4F2090089F71}"/>
              </a:ext>
            </a:extLst>
          </p:cNvPr>
          <p:cNvSpPr>
            <a:spLocks noGrp="1"/>
          </p:cNvSpPr>
          <p:nvPr>
            <p:ph type="title"/>
          </p:nvPr>
        </p:nvSpPr>
        <p:spPr>
          <a:xfrm>
            <a:off x="366169" y="295278"/>
            <a:ext cx="11702551" cy="917575"/>
          </a:xfrm>
        </p:spPr>
        <p:txBody>
          <a:bodyPr/>
          <a:lstStyle/>
          <a:p>
            <a:r>
              <a:rPr lang="en-US" dirty="0">
                <a:cs typeface="Segoe UI Light"/>
              </a:rPr>
              <a:t>Virtual Machine Disks</a:t>
            </a:r>
          </a:p>
        </p:txBody>
      </p:sp>
    </p:spTree>
    <p:extLst>
      <p:ext uri="{BB962C8B-B14F-4D97-AF65-F5344CB8AC3E}">
        <p14:creationId xmlns:p14="http://schemas.microsoft.com/office/powerpoint/2010/main" val="293276978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879907" y="2411366"/>
          <a:ext cx="8675077" cy="37528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2"/>
          <p:cNvSpPr txBox="1">
            <a:spLocks/>
          </p:cNvSpPr>
          <p:nvPr/>
        </p:nvSpPr>
        <p:spPr>
          <a:xfrm>
            <a:off x="518569" y="4476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Virtual Machines – Extension models</a:t>
            </a:r>
          </a:p>
        </p:txBody>
      </p:sp>
      <p:sp>
        <p:nvSpPr>
          <p:cNvPr id="6" name="Text Placeholder 1"/>
          <p:cNvSpPr txBox="1">
            <a:spLocks/>
          </p:cNvSpPr>
          <p:nvPr/>
        </p:nvSpPr>
        <p:spPr>
          <a:xfrm>
            <a:off x="518568" y="1365251"/>
            <a:ext cx="11413876" cy="683264"/>
          </a:xfrm>
          <a:prstGeom prst="rect">
            <a:avLst/>
          </a:prstGeom>
        </p:spPr>
        <p:txBody>
          <a:bodyPr vert="horz" wrap="square" lIns="146304" tIns="91440" rIns="146304" bIns="91440" rtlCol="0">
            <a:spAutoFit/>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a:solidFill>
                  <a:schemeClr val="accent1"/>
                </a:solidFill>
              </a:rPr>
              <a:t>Use available extensions for the following scenarios:</a:t>
            </a:r>
          </a:p>
        </p:txBody>
      </p:sp>
    </p:spTree>
    <p:extLst>
      <p:ext uri="{BB962C8B-B14F-4D97-AF65-F5344CB8AC3E}">
        <p14:creationId xmlns:p14="http://schemas.microsoft.com/office/powerpoint/2010/main" val="329665110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69" y="295278"/>
            <a:ext cx="11702551" cy="917575"/>
          </a:xfrm>
        </p:spPr>
        <p:txBody>
          <a:bodyPr/>
          <a:lstStyle/>
          <a:p>
            <a:pPr defTabSz="932594"/>
            <a:r>
              <a:rPr lang="en-US" sz="4800" spc="-101">
                <a:gradFill>
                  <a:gsLst>
                    <a:gs pos="1250">
                      <a:schemeClr val="tx1"/>
                    </a:gs>
                    <a:gs pos="100000">
                      <a:schemeClr val="tx1"/>
                    </a:gs>
                  </a:gsLst>
                  <a:lin ang="5400000" scaled="0"/>
                </a:gradFill>
                <a:cs typeface="Segoe UI" pitchFamily="34" charset="0"/>
              </a:rPr>
              <a:t>VM extensions</a:t>
            </a:r>
          </a:p>
        </p:txBody>
      </p:sp>
      <p:sp>
        <p:nvSpPr>
          <p:cNvPr id="3" name="Text Placeholder 2"/>
          <p:cNvSpPr>
            <a:spLocks noGrp="1"/>
          </p:cNvSpPr>
          <p:nvPr>
            <p:ph type="body" sz="quarter" idx="4294967295"/>
          </p:nvPr>
        </p:nvSpPr>
        <p:spPr>
          <a:xfrm>
            <a:off x="366169" y="1191733"/>
            <a:ext cx="5556702" cy="1735860"/>
          </a:xfrm>
        </p:spPr>
        <p:txBody>
          <a:bodyPr/>
          <a:lstStyle/>
          <a:p>
            <a:r>
              <a:rPr lang="en-US" sz="2400">
                <a:gradFill>
                  <a:gsLst>
                    <a:gs pos="1250">
                      <a:schemeClr val="tx2"/>
                    </a:gs>
                    <a:gs pos="99000">
                      <a:schemeClr val="tx2"/>
                    </a:gs>
                  </a:gsLst>
                  <a:lin ang="5400000" scaled="0"/>
                </a:gradFill>
              </a:rPr>
              <a:t>Extending the power of your VM</a:t>
            </a:r>
          </a:p>
          <a:p>
            <a:r>
              <a:rPr lang="en-US" sz="2400">
                <a:gradFill>
                  <a:gsLst>
                    <a:gs pos="1250">
                      <a:schemeClr val="tx2"/>
                    </a:gs>
                    <a:gs pos="99000">
                      <a:schemeClr val="tx2"/>
                    </a:gs>
                  </a:gsLst>
                  <a:lin ang="5400000" scaled="0"/>
                </a:gradFill>
              </a:rPr>
              <a:t>Enable easier management</a:t>
            </a:r>
          </a:p>
          <a:p>
            <a:r>
              <a:rPr lang="en-US" sz="2400">
                <a:gradFill>
                  <a:gsLst>
                    <a:gs pos="1250">
                      <a:schemeClr val="tx2"/>
                    </a:gs>
                    <a:gs pos="99000">
                      <a:schemeClr val="tx2"/>
                    </a:gs>
                  </a:gsLst>
                  <a:lin ang="5400000" scaled="0"/>
                </a:gradFill>
              </a:rPr>
              <a:t>Support partner ecosystem</a:t>
            </a:r>
          </a:p>
          <a:p>
            <a:r>
              <a:rPr lang="en-US" sz="2400">
                <a:gradFill>
                  <a:gsLst>
                    <a:gs pos="1250">
                      <a:schemeClr val="tx2"/>
                    </a:gs>
                    <a:gs pos="99000">
                      <a:schemeClr val="tx2"/>
                    </a:gs>
                  </a:gsLst>
                  <a:lin ang="5400000" scaled="0"/>
                </a:gradFill>
              </a:rPr>
              <a:t>Full control remains with you!</a:t>
            </a:r>
          </a:p>
        </p:txBody>
      </p:sp>
      <p:grpSp>
        <p:nvGrpSpPr>
          <p:cNvPr id="17" name="Group 16"/>
          <p:cNvGrpSpPr/>
          <p:nvPr/>
        </p:nvGrpSpPr>
        <p:grpSpPr>
          <a:xfrm>
            <a:off x="775299" y="1213168"/>
            <a:ext cx="10978611" cy="5221760"/>
            <a:chOff x="775299" y="1576251"/>
            <a:chExt cx="10978611" cy="5221760"/>
          </a:xfrm>
        </p:grpSpPr>
        <p:sp>
          <p:nvSpPr>
            <p:cNvPr id="6" name="Text Placeholder 12"/>
            <p:cNvSpPr txBox="1">
              <a:spLocks/>
            </p:cNvSpPr>
            <p:nvPr/>
          </p:nvSpPr>
          <p:spPr>
            <a:xfrm>
              <a:off x="5381686" y="1576251"/>
              <a:ext cx="6372223" cy="636897"/>
            </a:xfrm>
            <a:prstGeom prst="rect">
              <a:avLst/>
            </a:prstGeom>
            <a:noFill/>
          </p:spPr>
          <p:txBody>
            <a:bodyPr vert="horz" wrap="square" lIns="109671" tIns="68544" rIns="109671" bIns="68544"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3599">
                  <a:solidFill>
                    <a:srgbClr val="004B50"/>
                  </a:solidFill>
                </a:rPr>
                <a:t>IaaS extended</a:t>
              </a:r>
            </a:p>
          </p:txBody>
        </p:sp>
        <p:cxnSp>
          <p:nvCxnSpPr>
            <p:cNvPr id="31" name="Straight Connector 30"/>
            <p:cNvCxnSpPr/>
            <p:nvPr/>
          </p:nvCxnSpPr>
          <p:spPr>
            <a:xfrm>
              <a:off x="6682587" y="3415051"/>
              <a:ext cx="0" cy="0"/>
            </a:xfrm>
            <a:prstGeom prst="line">
              <a:avLst/>
            </a:prstGeom>
            <a:noFill/>
            <a:ln w="9525" cap="flat" cmpd="sng" algn="ctr">
              <a:solidFill>
                <a:srgbClr val="505050"/>
              </a:solidFill>
              <a:prstDash val="solid"/>
              <a:headEnd type="none"/>
              <a:tailEnd type="none"/>
            </a:ln>
            <a:effectLst/>
          </p:spPr>
        </p:cxnSp>
        <p:cxnSp>
          <p:nvCxnSpPr>
            <p:cNvPr id="32" name="Straight Connector 31"/>
            <p:cNvCxnSpPr/>
            <p:nvPr/>
          </p:nvCxnSpPr>
          <p:spPr>
            <a:xfrm>
              <a:off x="6809303" y="3331611"/>
              <a:ext cx="0" cy="0"/>
            </a:xfrm>
            <a:prstGeom prst="line">
              <a:avLst/>
            </a:prstGeom>
            <a:noFill/>
            <a:ln w="25400" cap="flat" cmpd="sng" algn="ctr">
              <a:solidFill>
                <a:srgbClr val="DC3C00"/>
              </a:solidFill>
              <a:prstDash val="solid"/>
              <a:headEnd type="none"/>
              <a:tailEnd type="none"/>
            </a:ln>
            <a:effectLst/>
          </p:spPr>
        </p:cxnSp>
        <p:cxnSp>
          <p:nvCxnSpPr>
            <p:cNvPr id="35" name="Elbow Connector 34"/>
            <p:cNvCxnSpPr>
              <a:cxnSpLocks/>
              <a:stCxn id="37" idx="3"/>
            </p:cNvCxnSpPr>
            <p:nvPr/>
          </p:nvCxnSpPr>
          <p:spPr>
            <a:xfrm flipV="1">
              <a:off x="3984606" y="4249258"/>
              <a:ext cx="2649139" cy="268122"/>
            </a:xfrm>
            <a:prstGeom prst="bentConnector3">
              <a:avLst>
                <a:gd name="adj1" fmla="val 60427"/>
              </a:avLst>
            </a:prstGeom>
            <a:noFill/>
            <a:ln w="19050" cap="rnd" cmpd="sng" algn="ctr">
              <a:solidFill>
                <a:srgbClr val="B4009E"/>
              </a:solidFill>
              <a:prstDash val="sysDash"/>
              <a:headEnd type="none"/>
              <a:tailEnd type="arrow"/>
            </a:ln>
            <a:effectLst/>
          </p:spPr>
        </p:cxnSp>
        <p:sp>
          <p:nvSpPr>
            <p:cNvPr id="36" name="Rectangle 35"/>
            <p:cNvSpPr/>
            <p:nvPr/>
          </p:nvSpPr>
          <p:spPr bwMode="auto">
            <a:xfrm>
              <a:off x="5646902" y="6216573"/>
              <a:ext cx="5675942" cy="58143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9858" tIns="111888" rIns="139858" bIns="111888" numCol="1" spcCol="0" rtlCol="0" fromWordArt="0" anchor="t" anchorCtr="0" forceAA="0" compatLnSpc="1">
              <a:prstTxWarp prst="textNoShape">
                <a:avLst/>
              </a:prstTxWarp>
              <a:noAutofit/>
            </a:bodyPr>
            <a:lstStyle/>
            <a:p>
              <a:pPr algn="ctr" defTabSz="713063" fontAlgn="base">
                <a:lnSpc>
                  <a:spcPct val="90000"/>
                </a:lnSpc>
                <a:spcBef>
                  <a:spcPct val="0"/>
                </a:spcBef>
                <a:spcAft>
                  <a:spcPct val="0"/>
                </a:spcAft>
                <a:defRPr/>
              </a:pPr>
              <a:r>
                <a:rPr lang="en-US" sz="2400" kern="0">
                  <a:solidFill>
                    <a:srgbClr val="0078D7"/>
                  </a:solidFill>
                  <a:ea typeface="Segoe UI" pitchFamily="34" charset="0"/>
                  <a:cs typeface="Segoe UI" pitchFamily="34" charset="0"/>
                </a:rPr>
                <a:t>Azure</a:t>
              </a:r>
            </a:p>
          </p:txBody>
        </p:sp>
        <p:pic>
          <p:nvPicPr>
            <p:cNvPr id="37" name="Picture 4" descr="http://www.getinthesky.com/wp-content/uploads/logo-powershell1.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98433" y="3874293"/>
              <a:ext cx="1286173" cy="1286173"/>
            </a:xfrm>
            <a:prstGeom prst="rect">
              <a:avLst/>
            </a:prstGeom>
            <a:noFill/>
            <a:extLst>
              <a:ext uri="{909E8E84-426E-40dd-AFC4-6F175D3DCCD1}">
                <a14:hiddenFill xmlns="" xmlns:a14="http://schemas.microsoft.com/office/drawing/2010/main">
                  <a:solidFill>
                    <a:srgbClr val="FFFFFF"/>
                  </a:solidFill>
                </a14:hiddenFill>
              </a:ext>
            </a:extLst>
          </p:spPr>
        </p:pic>
        <p:cxnSp>
          <p:nvCxnSpPr>
            <p:cNvPr id="43" name="Elbow Connector 42"/>
            <p:cNvCxnSpPr>
              <a:cxnSpLocks/>
            </p:cNvCxnSpPr>
            <p:nvPr/>
          </p:nvCxnSpPr>
          <p:spPr>
            <a:xfrm flipV="1">
              <a:off x="4303011" y="5030130"/>
              <a:ext cx="2322457" cy="869417"/>
            </a:xfrm>
            <a:prstGeom prst="bentConnector3">
              <a:avLst>
                <a:gd name="adj1" fmla="val 56152"/>
              </a:avLst>
            </a:prstGeom>
            <a:noFill/>
            <a:ln w="19050" cap="rnd" cmpd="sng" algn="ctr">
              <a:solidFill>
                <a:srgbClr val="B4009E"/>
              </a:solidFill>
              <a:prstDash val="sysDash"/>
              <a:headEnd type="none"/>
              <a:tailEnd type="arrow"/>
            </a:ln>
            <a:effectLst/>
          </p:spPr>
        </p:cxnSp>
        <p:sp>
          <p:nvSpPr>
            <p:cNvPr id="68" name="Rectangle 67"/>
            <p:cNvSpPr/>
            <p:nvPr/>
          </p:nvSpPr>
          <p:spPr bwMode="auto">
            <a:xfrm>
              <a:off x="9983607" y="4907197"/>
              <a:ext cx="1645188" cy="58143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9858" tIns="111888" rIns="139858" bIns="111888" numCol="1" spcCol="0" rtlCol="0" fromWordArt="0" anchor="t" anchorCtr="0" forceAA="0" compatLnSpc="1">
              <a:prstTxWarp prst="textNoShape">
                <a:avLst/>
              </a:prstTxWarp>
              <a:noAutofit/>
            </a:bodyPr>
            <a:lstStyle/>
            <a:p>
              <a:pPr algn="ctr" defTabSz="713063" fontAlgn="base">
                <a:lnSpc>
                  <a:spcPct val="90000"/>
                </a:lnSpc>
                <a:spcBef>
                  <a:spcPct val="0"/>
                </a:spcBef>
                <a:spcAft>
                  <a:spcPct val="0"/>
                </a:spcAft>
                <a:defRPr/>
              </a:pPr>
              <a:r>
                <a:rPr lang="en-US" sz="1600" kern="0">
                  <a:solidFill>
                    <a:schemeClr val="tx1">
                      <a:lumMod val="50000"/>
                    </a:schemeClr>
                  </a:solidFill>
                  <a:ea typeface="Segoe UI" pitchFamily="34" charset="0"/>
                  <a:cs typeface="Segoe UI" pitchFamily="34" charset="0"/>
                </a:rPr>
                <a:t>Curated extensions</a:t>
              </a:r>
            </a:p>
          </p:txBody>
        </p:sp>
        <p:pic>
          <p:nvPicPr>
            <p:cNvPr id="70" name="Picture 4" descr="http://www.getinthesky.com/wp-content/uploads/logo-powershell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290827" y="4916574"/>
              <a:ext cx="685658" cy="685658"/>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7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67949" y="4475874"/>
              <a:ext cx="1172296" cy="309048"/>
            </a:xfrm>
            <a:prstGeom prst="rect">
              <a:avLst/>
            </a:prstGeom>
          </p:spPr>
        </p:pic>
        <p:cxnSp>
          <p:nvCxnSpPr>
            <p:cNvPr id="74" name="Elbow Connector 73"/>
            <p:cNvCxnSpPr>
              <a:cxnSpLocks/>
              <a:endCxn id="70" idx="1"/>
            </p:cNvCxnSpPr>
            <p:nvPr/>
          </p:nvCxnSpPr>
          <p:spPr>
            <a:xfrm>
              <a:off x="7812856" y="5032526"/>
              <a:ext cx="477971" cy="226877"/>
            </a:xfrm>
            <a:prstGeom prst="bentConnector3">
              <a:avLst>
                <a:gd name="adj1" fmla="val 50000"/>
              </a:avLst>
            </a:prstGeom>
            <a:noFill/>
            <a:ln w="19050" cap="rnd" cmpd="sng" algn="ctr">
              <a:solidFill>
                <a:srgbClr val="B4009E"/>
              </a:solidFill>
              <a:prstDash val="sysDash"/>
              <a:headEnd type="none"/>
              <a:tailEnd type="triangle"/>
            </a:ln>
            <a:effectLst/>
          </p:spPr>
        </p:cxnSp>
        <p:sp>
          <p:nvSpPr>
            <p:cNvPr id="78" name="Rectangle 77"/>
            <p:cNvSpPr/>
            <p:nvPr/>
          </p:nvSpPr>
          <p:spPr>
            <a:xfrm>
              <a:off x="6883113" y="5109362"/>
              <a:ext cx="729687" cy="338554"/>
            </a:xfrm>
            <a:prstGeom prst="rect">
              <a:avLst/>
            </a:prstGeom>
          </p:spPr>
          <p:txBody>
            <a:bodyPr wrap="none">
              <a:spAutoFit/>
            </a:bodyPr>
            <a:lstStyle/>
            <a:p>
              <a:pPr defTabSz="698899">
                <a:defRPr/>
              </a:pPr>
              <a:r>
                <a:rPr lang="en-US" sz="1600" kern="0">
                  <a:solidFill>
                    <a:srgbClr val="000000"/>
                  </a:solidFill>
                </a:rPr>
                <a:t>Agent</a:t>
              </a:r>
              <a:endParaRPr lang="en-US" sz="1350" kern="0">
                <a:solidFill>
                  <a:srgbClr val="000000"/>
                </a:solidFill>
              </a:endParaRPr>
            </a:p>
          </p:txBody>
        </p:sp>
        <p:pic>
          <p:nvPicPr>
            <p:cNvPr id="82" name="Picture 81"/>
            <p:cNvPicPr/>
            <p:nvPr/>
          </p:nvPicPr>
          <p:blipFill rotWithShape="1">
            <a:blip r:embed="rId6" cstate="screen">
              <a:extLst>
                <a:ext uri="{28A0092B-C50C-407E-A947-70E740481C1C}">
                  <a14:useLocalDpi xmlns:a14="http://schemas.microsoft.com/office/drawing/2010/main"/>
                </a:ext>
              </a:extLst>
            </a:blip>
            <a:srcRect/>
            <a:stretch/>
          </p:blipFill>
          <p:spPr bwMode="auto">
            <a:xfrm>
              <a:off x="2745497" y="5354943"/>
              <a:ext cx="1380642" cy="861630"/>
            </a:xfrm>
            <a:prstGeom prst="rect">
              <a:avLst/>
            </a:prstGeom>
            <a:noFill/>
            <a:ln>
              <a:noFill/>
            </a:ln>
          </p:spPr>
        </p:pic>
        <p:pic>
          <p:nvPicPr>
            <p:cNvPr id="85" name="Picture 84"/>
            <p:cNvPicPr>
              <a:picLocks noChangeAspect="1"/>
            </p:cNvPicPr>
            <p:nvPr/>
          </p:nvPicPr>
          <p:blipFill>
            <a:blip r:embed="rId7" cstate="screen">
              <a:biLevel thresh="75000"/>
              <a:extLst>
                <a:ext uri="{28A0092B-C50C-407E-A947-70E740481C1C}">
                  <a14:useLocalDpi xmlns:a14="http://schemas.microsoft.com/office/drawing/2010/main"/>
                </a:ext>
              </a:extLst>
            </a:blip>
            <a:stretch>
              <a:fillRect/>
            </a:stretch>
          </p:blipFill>
          <p:spPr>
            <a:xfrm>
              <a:off x="9007585" y="4903124"/>
              <a:ext cx="664537" cy="727328"/>
            </a:xfrm>
            <a:prstGeom prst="rect">
              <a:avLst/>
            </a:prstGeom>
          </p:spPr>
        </p:pic>
        <p:sp>
          <p:nvSpPr>
            <p:cNvPr id="97" name="Freeform 5"/>
            <p:cNvSpPr>
              <a:spLocks/>
            </p:cNvSpPr>
            <p:nvPr/>
          </p:nvSpPr>
          <p:spPr bwMode="auto">
            <a:xfrm>
              <a:off x="5381686" y="2506661"/>
              <a:ext cx="6372224" cy="3712279"/>
            </a:xfrm>
            <a:custGeom>
              <a:avLst/>
              <a:gdLst>
                <a:gd name="T0" fmla="*/ 1143 w 1364"/>
                <a:gd name="T1" fmla="*/ 323 h 793"/>
                <a:gd name="T2" fmla="*/ 1143 w 1364"/>
                <a:gd name="T3" fmla="*/ 304 h 793"/>
                <a:gd name="T4" fmla="*/ 839 w 1364"/>
                <a:gd name="T5" fmla="*/ 0 h 793"/>
                <a:gd name="T6" fmla="*/ 562 w 1364"/>
                <a:gd name="T7" fmla="*/ 179 h 793"/>
                <a:gd name="T8" fmla="*/ 410 w 1364"/>
                <a:gd name="T9" fmla="*/ 124 h 793"/>
                <a:gd name="T10" fmla="*/ 175 w 1364"/>
                <a:gd name="T11" fmla="*/ 359 h 793"/>
                <a:gd name="T12" fmla="*/ 180 w 1364"/>
                <a:gd name="T13" fmla="*/ 409 h 793"/>
                <a:gd name="T14" fmla="*/ 0 w 1364"/>
                <a:gd name="T15" fmla="*/ 594 h 793"/>
                <a:gd name="T16" fmla="*/ 191 w 1364"/>
                <a:gd name="T17" fmla="*/ 793 h 793"/>
                <a:gd name="T18" fmla="*/ 194 w 1364"/>
                <a:gd name="T19" fmla="*/ 793 h 793"/>
                <a:gd name="T20" fmla="*/ 1129 w 1364"/>
                <a:gd name="T21" fmla="*/ 790 h 793"/>
                <a:gd name="T22" fmla="*/ 1364 w 1364"/>
                <a:gd name="T23" fmla="*/ 555 h 793"/>
                <a:gd name="T24" fmla="*/ 1143 w 1364"/>
                <a:gd name="T25" fmla="*/ 323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4" h="793">
                  <a:moveTo>
                    <a:pt x="1143" y="323"/>
                  </a:moveTo>
                  <a:cubicBezTo>
                    <a:pt x="1143" y="315"/>
                    <a:pt x="1143" y="309"/>
                    <a:pt x="1143" y="304"/>
                  </a:cubicBezTo>
                  <a:cubicBezTo>
                    <a:pt x="1143" y="135"/>
                    <a:pt x="1007" y="0"/>
                    <a:pt x="839" y="0"/>
                  </a:cubicBezTo>
                  <a:cubicBezTo>
                    <a:pt x="714" y="0"/>
                    <a:pt x="609" y="75"/>
                    <a:pt x="562" y="179"/>
                  </a:cubicBezTo>
                  <a:cubicBezTo>
                    <a:pt x="520" y="144"/>
                    <a:pt x="468" y="124"/>
                    <a:pt x="410" y="124"/>
                  </a:cubicBezTo>
                  <a:cubicBezTo>
                    <a:pt x="282" y="124"/>
                    <a:pt x="175" y="232"/>
                    <a:pt x="175" y="359"/>
                  </a:cubicBezTo>
                  <a:cubicBezTo>
                    <a:pt x="175" y="378"/>
                    <a:pt x="177" y="392"/>
                    <a:pt x="180" y="409"/>
                  </a:cubicBezTo>
                  <a:cubicBezTo>
                    <a:pt x="80" y="417"/>
                    <a:pt x="0" y="489"/>
                    <a:pt x="0" y="594"/>
                  </a:cubicBezTo>
                  <a:cubicBezTo>
                    <a:pt x="0" y="701"/>
                    <a:pt x="83" y="790"/>
                    <a:pt x="191" y="793"/>
                  </a:cubicBezTo>
                  <a:cubicBezTo>
                    <a:pt x="194" y="793"/>
                    <a:pt x="194" y="793"/>
                    <a:pt x="194" y="793"/>
                  </a:cubicBezTo>
                  <a:cubicBezTo>
                    <a:pt x="1129" y="790"/>
                    <a:pt x="1129" y="790"/>
                    <a:pt x="1129" y="790"/>
                  </a:cubicBezTo>
                  <a:cubicBezTo>
                    <a:pt x="1259" y="790"/>
                    <a:pt x="1364" y="688"/>
                    <a:pt x="1364" y="555"/>
                  </a:cubicBezTo>
                  <a:cubicBezTo>
                    <a:pt x="1364" y="431"/>
                    <a:pt x="1267" y="329"/>
                    <a:pt x="1143" y="323"/>
                  </a:cubicBezTo>
                  <a:close/>
                </a:path>
              </a:pathLst>
            </a:custGeom>
            <a:noFill/>
            <a:ln w="19050" cap="rnd">
              <a:solidFill>
                <a:srgbClr val="0078D7"/>
              </a:solid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19" name="Straight Connector 118"/>
            <p:cNvCxnSpPr>
              <a:cxnSpLocks/>
            </p:cNvCxnSpPr>
            <p:nvPr/>
          </p:nvCxnSpPr>
          <p:spPr>
            <a:xfrm rot="10800000">
              <a:off x="2212697" y="4509057"/>
              <a:ext cx="0" cy="1297333"/>
            </a:xfrm>
            <a:prstGeom prst="line">
              <a:avLst/>
            </a:prstGeom>
            <a:ln w="19050" cap="rnd">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p:cNvCxnSpPr>
            <p:nvPr/>
          </p:nvCxnSpPr>
          <p:spPr>
            <a:xfrm rot="10800000">
              <a:off x="2212697" y="4503688"/>
              <a:ext cx="166883" cy="0"/>
            </a:xfrm>
            <a:prstGeom prst="line">
              <a:avLst/>
            </a:prstGeom>
            <a:ln w="19050" cap="rnd">
              <a:solidFill>
                <a:srgbClr val="0078D7"/>
              </a:solidFill>
              <a:prstDash val="solid"/>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rot="10800000">
              <a:off x="2212697" y="5806391"/>
              <a:ext cx="166883" cy="0"/>
            </a:xfrm>
            <a:prstGeom prst="line">
              <a:avLst/>
            </a:prstGeom>
            <a:ln w="19050" cap="rnd">
              <a:solidFill>
                <a:srgbClr val="0078D7"/>
              </a:solidFill>
              <a:prstDash val="solid"/>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flipH="1">
              <a:off x="1748171" y="5154896"/>
              <a:ext cx="464528" cy="0"/>
            </a:xfrm>
            <a:prstGeom prst="line">
              <a:avLst/>
            </a:prstGeom>
            <a:ln w="19050" cap="rnd">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p:cNvCxnSpPr>
            <p:nvPr/>
          </p:nvCxnSpPr>
          <p:spPr>
            <a:xfrm flipH="1">
              <a:off x="9728808" y="5092453"/>
              <a:ext cx="462006" cy="0"/>
            </a:xfrm>
            <a:prstGeom prst="line">
              <a:avLst/>
            </a:prstGeom>
            <a:ln w="19050" cap="rnd">
              <a:solidFill>
                <a:srgbClr val="0078D7"/>
              </a:solidFill>
              <a:prstDash val="solid"/>
              <a:headEnd type="arrow"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Graphic 3"/>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75299" y="4812736"/>
              <a:ext cx="828675" cy="571500"/>
            </a:xfrm>
            <a:prstGeom prst="rect">
              <a:avLst/>
            </a:prstGeom>
          </p:spPr>
        </p:pic>
        <p:pic>
          <p:nvPicPr>
            <p:cNvPr id="16" name="Graphic 15"/>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932199" y="4597632"/>
              <a:ext cx="619125" cy="447675"/>
            </a:xfrm>
            <a:prstGeom prst="rect">
              <a:avLst/>
            </a:prstGeom>
          </p:spPr>
        </p:pic>
      </p:grpSp>
    </p:spTree>
    <p:extLst>
      <p:ext uri="{BB962C8B-B14F-4D97-AF65-F5344CB8AC3E}">
        <p14:creationId xmlns:p14="http://schemas.microsoft.com/office/powerpoint/2010/main" val="2950345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4" name="Title 3"/>
          <p:cNvSpPr txBox="1">
            <a:spLocks/>
          </p:cNvSpPr>
          <p:nvPr/>
        </p:nvSpPr>
        <p:spPr>
          <a:xfrm>
            <a:off x="366169" y="2659062"/>
            <a:ext cx="11690437" cy="1098762"/>
          </a:xfrm>
          <a:prstGeom prst="rect">
            <a:avLst/>
          </a:prstGeom>
          <a:noFill/>
        </p:spPr>
        <p:txBody>
          <a:bodyPr vert="horz" wrap="square" lIns="146304" tIns="91440" rIns="146304" bIns="91440" rtlCol="0" anchor="t" anchorCtr="0">
            <a:spAutoFit/>
          </a:bodyPr>
          <a:lstStyle>
            <a:lvl1pPr algn="l" defTabSz="932649" rtl="0" eaLnBrk="1" latinLnBrk="0" hangingPunct="1">
              <a:lnSpc>
                <a:spcPct val="90000"/>
              </a:lnSpc>
              <a:spcBef>
                <a:spcPct val="0"/>
              </a:spcBef>
              <a:buNone/>
              <a:defRPr lang="en-US" sz="7199"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lvl="0"/>
            <a:r>
              <a:rPr lang="en-CA" sz="6600" dirty="0">
                <a:gradFill>
                  <a:gsLst>
                    <a:gs pos="100000">
                      <a:srgbClr val="FFFFFF"/>
                    </a:gs>
                    <a:gs pos="0">
                      <a:srgbClr val="FFFFFF"/>
                    </a:gs>
                  </a:gsLst>
                  <a:lin ang="5400000" scaled="0"/>
                </a:gradFill>
              </a:rPr>
              <a:t>Virtual Machine Scale Sets</a:t>
            </a:r>
            <a:endParaRPr kumimoji="0" lang="en-CA" sz="7199"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Light"/>
              <a:ea typeface="+mn-ea"/>
              <a:cs typeface="Segoe UI" pitchFamily="34" charset="0"/>
            </a:endParaRPr>
          </a:p>
        </p:txBody>
      </p:sp>
      <p:pic>
        <p:nvPicPr>
          <p:cNvPr id="5" name="Picture 4">
            <a:extLst>
              <a:ext uri="{FF2B5EF4-FFF2-40B4-BE49-F238E27FC236}">
                <a16:creationId xmlns:a16="http://schemas.microsoft.com/office/drawing/2014/main" id="{1E89C72B-2E14-480E-B436-02198A345119}"/>
              </a:ext>
            </a:extLst>
          </p:cNvPr>
          <p:cNvPicPr>
            <a:picLocks noChangeAspect="1"/>
          </p:cNvPicPr>
          <p:nvPr/>
        </p:nvPicPr>
        <p:blipFill>
          <a:blip r:embed="rId3"/>
          <a:stretch>
            <a:fillRect/>
          </a:stretch>
        </p:blipFill>
        <p:spPr>
          <a:xfrm>
            <a:off x="4933960" y="4117810"/>
            <a:ext cx="1720148" cy="1720148"/>
          </a:xfrm>
          <a:prstGeom prst="rect">
            <a:avLst/>
          </a:prstGeom>
          <a:solidFill>
            <a:srgbClr val="FFFFFF"/>
          </a:solidFill>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378645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3161" y="295683"/>
            <a:ext cx="10770934" cy="917458"/>
          </a:xfrm>
        </p:spPr>
        <p:txBody>
          <a:bodyPr/>
          <a:lstStyle/>
          <a:p>
            <a:r>
              <a:rPr lang="en-US" dirty="0"/>
              <a:t>Virtual Machine Scale Sets</a:t>
            </a:r>
          </a:p>
        </p:txBody>
      </p:sp>
      <p:pic>
        <p:nvPicPr>
          <p:cNvPr id="4" name="Picture 3"/>
          <p:cNvPicPr>
            <a:picLocks noChangeAspect="1"/>
          </p:cNvPicPr>
          <p:nvPr/>
        </p:nvPicPr>
        <p:blipFill>
          <a:blip r:embed="rId3"/>
          <a:stretch>
            <a:fillRect/>
          </a:stretch>
        </p:blipFill>
        <p:spPr>
          <a:xfrm>
            <a:off x="1029551" y="1213141"/>
            <a:ext cx="10378154" cy="2285098"/>
          </a:xfrm>
          <a:prstGeom prst="rect">
            <a:avLst/>
          </a:prstGeom>
        </p:spPr>
      </p:pic>
      <p:sp>
        <p:nvSpPr>
          <p:cNvPr id="5" name="Text Placeholder 6"/>
          <p:cNvSpPr txBox="1">
            <a:spLocks/>
          </p:cNvSpPr>
          <p:nvPr/>
        </p:nvSpPr>
        <p:spPr>
          <a:xfrm>
            <a:off x="366875" y="4246587"/>
            <a:ext cx="5637280" cy="1323244"/>
          </a:xfrm>
          <a:prstGeom prst="rect">
            <a:avLst/>
          </a:prstGeom>
        </p:spPr>
        <p:txBody>
          <a:bodyPr vert="horz" wrap="square" lIns="146264" tIns="91415" rIns="146264" bIns="91415"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00" indent="-342800" defTabSz="932470"/>
            <a:r>
              <a:rPr lang="en-US" sz="2800" dirty="0">
                <a:solidFill>
                  <a:srgbClr val="505050"/>
                </a:solidFill>
                <a:latin typeface="Segoe UI Light"/>
              </a:rPr>
              <a:t>Deploy and manage VMs as a set</a:t>
            </a:r>
          </a:p>
          <a:p>
            <a:pPr marL="342800" indent="-342800" defTabSz="932470"/>
            <a:r>
              <a:rPr lang="en-US" sz="2800" dirty="0">
                <a:solidFill>
                  <a:srgbClr val="505050"/>
                </a:solidFill>
                <a:latin typeface="Segoe UI Light"/>
              </a:rPr>
              <a:t>An Azure Compute resource </a:t>
            </a:r>
            <a:r>
              <a:rPr lang="en-US" sz="2000" b="1" dirty="0">
                <a:solidFill>
                  <a:srgbClr val="505050"/>
                </a:solidFill>
                <a:latin typeface="Segoe UI Light"/>
              </a:rPr>
              <a:t>Microsoft.Compute</a:t>
            </a:r>
            <a:r>
              <a:rPr lang="en-US" sz="2000" dirty="0">
                <a:solidFill>
                  <a:srgbClr val="505050"/>
                </a:solidFill>
                <a:latin typeface="Segoe UI Light"/>
              </a:rPr>
              <a:t>/</a:t>
            </a:r>
            <a:r>
              <a:rPr lang="en-US" sz="2000" dirty="0" err="1">
                <a:solidFill>
                  <a:srgbClr val="505050"/>
                </a:solidFill>
                <a:latin typeface="Segoe UI Light"/>
              </a:rPr>
              <a:t>virtualMachineScaleSets</a:t>
            </a:r>
            <a:endParaRPr lang="en-US" sz="2000" dirty="0">
              <a:solidFill>
                <a:srgbClr val="505050"/>
              </a:solidFill>
              <a:latin typeface="Segoe UI Light"/>
            </a:endParaRPr>
          </a:p>
        </p:txBody>
      </p:sp>
      <p:sp>
        <p:nvSpPr>
          <p:cNvPr id="8" name="Text Placeholder 6"/>
          <p:cNvSpPr txBox="1">
            <a:spLocks/>
          </p:cNvSpPr>
          <p:nvPr/>
        </p:nvSpPr>
        <p:spPr>
          <a:xfrm>
            <a:off x="6369804" y="4178758"/>
            <a:ext cx="5637280" cy="1458902"/>
          </a:xfrm>
          <a:prstGeom prst="rect">
            <a:avLst/>
          </a:prstGeom>
        </p:spPr>
        <p:txBody>
          <a:bodyPr vert="horz" wrap="square" lIns="146264" tIns="91415" rIns="146264" bIns="91415"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00" indent="-342800" defTabSz="932470"/>
            <a:r>
              <a:rPr lang="en-US" sz="2800" dirty="0">
                <a:gradFill>
                  <a:gsLst>
                    <a:gs pos="1250">
                      <a:srgbClr val="505050"/>
                    </a:gs>
                    <a:gs pos="100000">
                      <a:srgbClr val="505050"/>
                    </a:gs>
                  </a:gsLst>
                  <a:lin ang="5400000" scaled="0"/>
                </a:gradFill>
                <a:latin typeface="Segoe UI Light"/>
              </a:rPr>
              <a:t>Integrated with Azure Autoscale</a:t>
            </a:r>
          </a:p>
          <a:p>
            <a:pPr marL="342800" indent="-342800" defTabSz="932470"/>
            <a:r>
              <a:rPr lang="en-US" sz="2800" dirty="0">
                <a:gradFill>
                  <a:gsLst>
                    <a:gs pos="1250">
                      <a:srgbClr val="505050"/>
                    </a:gs>
                    <a:gs pos="100000">
                      <a:srgbClr val="505050"/>
                    </a:gs>
                  </a:gsLst>
                  <a:lin ang="5400000" scaled="0"/>
                </a:gradFill>
                <a:latin typeface="Segoe UI Light"/>
              </a:rPr>
              <a:t>Integrated with Azure Load Balancer</a:t>
            </a:r>
          </a:p>
        </p:txBody>
      </p:sp>
      <p:sp>
        <p:nvSpPr>
          <p:cNvPr id="9" name="Rectangle 8"/>
          <p:cNvSpPr/>
          <p:nvPr/>
        </p:nvSpPr>
        <p:spPr>
          <a:xfrm>
            <a:off x="2726823" y="6087375"/>
            <a:ext cx="7809026" cy="461606"/>
          </a:xfrm>
          <a:prstGeom prst="rect">
            <a:avLst/>
          </a:prstGeom>
        </p:spPr>
        <p:txBody>
          <a:bodyPr wrap="none">
            <a:spAutoFit/>
          </a:bodyPr>
          <a:lstStyle/>
          <a:p>
            <a:pPr defTabSz="932470"/>
            <a:r>
              <a:rPr lang="en-US" sz="2400" dirty="0">
                <a:solidFill>
                  <a:srgbClr val="505050"/>
                </a:solidFill>
                <a:latin typeface="Segoe UI"/>
              </a:rPr>
              <a:t>A scalable, platform-independent infrastructure for PaaS</a:t>
            </a:r>
          </a:p>
        </p:txBody>
      </p:sp>
      <p:sp>
        <p:nvSpPr>
          <p:cNvPr id="10" name="Rectangle 9"/>
          <p:cNvSpPr/>
          <p:nvPr/>
        </p:nvSpPr>
        <p:spPr>
          <a:xfrm>
            <a:off x="5061618" y="6548981"/>
            <a:ext cx="2311652" cy="376636"/>
          </a:xfrm>
          <a:prstGeom prst="rect">
            <a:avLst/>
          </a:prstGeom>
        </p:spPr>
        <p:txBody>
          <a:bodyPr wrap="square">
            <a:spAutoFit/>
          </a:bodyPr>
          <a:lstStyle/>
          <a:p>
            <a:pPr defTabSz="932470"/>
            <a:r>
              <a:rPr lang="en-US" u="sng" dirty="0">
                <a:solidFill>
                  <a:srgbClr val="0563C1"/>
                </a:solidFill>
                <a:latin typeface="Segoe UI" panose="020B0502040204020203" pitchFamily="34" charset="0"/>
                <a:ea typeface="Calibri" panose="020F0502020204030204" pitchFamily="34" charset="0"/>
                <a:hlinkClick r:id="rId4"/>
              </a:rPr>
              <a:t>aka.ms/Azure/VMSS</a:t>
            </a:r>
            <a:endParaRPr lang="en-US" sz="2400" dirty="0">
              <a:solidFill>
                <a:srgbClr val="505050"/>
              </a:solidFill>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1787734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04" y="1213142"/>
            <a:ext cx="6247601" cy="5665444"/>
          </a:xfrm>
        </p:spPr>
        <p:txBody>
          <a:bodyPr/>
          <a:lstStyle/>
          <a:p>
            <a:pPr marL="0" indent="0">
              <a:buNone/>
            </a:pPr>
            <a:r>
              <a:rPr lang="en-US" sz="2400" dirty="0"/>
              <a:t>Modern cloud applications need:</a:t>
            </a:r>
            <a:br>
              <a:rPr lang="en-US" sz="2400" dirty="0"/>
            </a:br>
            <a:endParaRPr lang="en-US" sz="2400" dirty="0"/>
          </a:p>
          <a:p>
            <a:pPr marL="0" indent="0">
              <a:buNone/>
            </a:pPr>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pPr marL="0" indent="0">
              <a:buNone/>
            </a:pPr>
            <a:r>
              <a:rPr lang="en-US" sz="2400" b="1" dirty="0"/>
              <a:t>Customization</a:t>
            </a:r>
            <a:r>
              <a:rPr lang="en-US" sz="2400" dirty="0"/>
              <a:t> – PaaS-like ease of use with custom infrastructure requirements</a:t>
            </a:r>
          </a:p>
          <a:p>
            <a:pPr marL="0" indent="0">
              <a:buNone/>
            </a:pPr>
            <a:r>
              <a:rPr lang="en-US" sz="2400" b="1" dirty="0"/>
              <a:t>Availability</a:t>
            </a:r>
            <a:r>
              <a:rPr lang="en-US" sz="2400" dirty="0"/>
              <a:t> - Roll out updates without service interruption</a:t>
            </a:r>
          </a:p>
          <a:p>
            <a:pPr marL="0" indent="0">
              <a:buNone/>
            </a:pPr>
            <a:r>
              <a:rPr lang="en-US" sz="2400" b="1" dirty="0"/>
              <a:t>Low cost - </a:t>
            </a:r>
            <a:r>
              <a:rPr lang="en-US" sz="2400" dirty="0"/>
              <a:t>Dynamically increase/decrease compute power to optimize costs</a:t>
            </a:r>
            <a:endParaRPr lang="en-US" sz="2400" b="1" dirty="0"/>
          </a:p>
          <a:p>
            <a:pPr marL="0" indent="0">
              <a:buNone/>
            </a:pPr>
            <a:r>
              <a:rPr lang="en-US" sz="2400" b="1" dirty="0"/>
              <a:t>Elasticity</a:t>
            </a:r>
            <a:r>
              <a:rPr lang="en-US" sz="2400" dirty="0"/>
              <a:t> - Automatically scale to changing demand</a:t>
            </a:r>
          </a:p>
          <a:p>
            <a:endParaRPr lang="en-US" sz="2000" dirty="0"/>
          </a:p>
          <a:p>
            <a:pPr lvl="1"/>
            <a:endParaRPr lang="en-US" sz="1200" dirty="0"/>
          </a:p>
        </p:txBody>
      </p:sp>
      <p:sp>
        <p:nvSpPr>
          <p:cNvPr id="3" name="Title 2"/>
          <p:cNvSpPr>
            <a:spLocks noGrp="1"/>
          </p:cNvSpPr>
          <p:nvPr>
            <p:ph type="title"/>
          </p:nvPr>
        </p:nvSpPr>
        <p:spPr/>
        <p:txBody>
          <a:bodyPr/>
          <a:lstStyle/>
          <a:p>
            <a:r>
              <a:rPr lang="en-US" dirty="0"/>
              <a:t>Why VM Scale Sets?</a:t>
            </a:r>
          </a:p>
        </p:txBody>
      </p:sp>
      <p:pic>
        <p:nvPicPr>
          <p:cNvPr id="4" name="Picture 3"/>
          <p:cNvPicPr>
            <a:picLocks noChangeAspect="1"/>
          </p:cNvPicPr>
          <p:nvPr/>
        </p:nvPicPr>
        <p:blipFill>
          <a:blip r:embed="rId3"/>
          <a:stretch>
            <a:fillRect/>
          </a:stretch>
        </p:blipFill>
        <p:spPr>
          <a:xfrm>
            <a:off x="6664992" y="1082237"/>
            <a:ext cx="5138087" cy="3024548"/>
          </a:xfrm>
          <a:prstGeom prst="rect">
            <a:avLst/>
          </a:prstGeom>
        </p:spPr>
      </p:pic>
      <p:pic>
        <p:nvPicPr>
          <p:cNvPr id="5" name="Picture 4"/>
          <p:cNvPicPr>
            <a:picLocks noChangeAspect="1"/>
          </p:cNvPicPr>
          <p:nvPr/>
        </p:nvPicPr>
        <p:blipFill>
          <a:blip r:embed="rId4"/>
          <a:stretch>
            <a:fillRect/>
          </a:stretch>
        </p:blipFill>
        <p:spPr>
          <a:xfrm>
            <a:off x="6634691" y="4259165"/>
            <a:ext cx="5168388" cy="2114340"/>
          </a:xfrm>
          <a:prstGeom prst="rect">
            <a:avLst/>
          </a:prstGeom>
        </p:spPr>
      </p:pic>
    </p:spTree>
    <p:extLst>
      <p:ext uri="{BB962C8B-B14F-4D97-AF65-F5344CB8AC3E}">
        <p14:creationId xmlns:p14="http://schemas.microsoft.com/office/powerpoint/2010/main" val="117696463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03" y="1213142"/>
            <a:ext cx="11885683" cy="4542782"/>
          </a:xfrm>
        </p:spPr>
        <p:txBody>
          <a:bodyPr/>
          <a:lstStyle/>
          <a:p>
            <a:pPr marL="0" indent="0">
              <a:buNone/>
            </a:pPr>
            <a:r>
              <a:rPr lang="en-US" dirty="0">
                <a:hlinkClick r:id="rId3"/>
              </a:rPr>
              <a:t>Simultaneously</a:t>
            </a:r>
            <a:r>
              <a:rPr lang="en-US" dirty="0"/>
              <a:t>:</a:t>
            </a:r>
          </a:p>
          <a:p>
            <a:pPr lvl="1"/>
            <a:r>
              <a:rPr lang="en-US" dirty="0"/>
              <a:t>Scale on a specific day</a:t>
            </a:r>
          </a:p>
          <a:p>
            <a:pPr lvl="1"/>
            <a:r>
              <a:rPr lang="en-US" dirty="0"/>
              <a:t>Scale on a recurring schedule</a:t>
            </a:r>
          </a:p>
          <a:p>
            <a:pPr lvl="1"/>
            <a:r>
              <a:rPr lang="en-US" dirty="0"/>
              <a:t>Scale on resource metrics</a:t>
            </a:r>
          </a:p>
          <a:p>
            <a:pPr marL="0" indent="0">
              <a:buNone/>
            </a:pPr>
            <a:r>
              <a:rPr lang="en-US" dirty="0">
                <a:hlinkClick r:id="rId4"/>
              </a:rPr>
              <a:t>Auto-email</a:t>
            </a:r>
            <a:r>
              <a:rPr lang="en-US" dirty="0"/>
              <a:t> your ops team! </a:t>
            </a:r>
            <a:r>
              <a:rPr lang="en-US" dirty="0">
                <a:sym typeface="Wingdings" panose="05000000000000000000" pitchFamily="2" charset="2"/>
              </a:rPr>
              <a:t>;)</a:t>
            </a:r>
            <a:endParaRPr lang="en-US" dirty="0"/>
          </a:p>
          <a:p>
            <a:pPr marL="0" indent="0">
              <a:buNone/>
            </a:pPr>
            <a:r>
              <a:rPr lang="en-US" dirty="0"/>
              <a:t>Integrate with external APIs via </a:t>
            </a:r>
            <a:r>
              <a:rPr lang="en-US" dirty="0">
                <a:hlinkClick r:id="rId4"/>
              </a:rPr>
              <a:t>Event Hooks</a:t>
            </a:r>
            <a:endParaRPr lang="en-US" dirty="0"/>
          </a:p>
          <a:p>
            <a:pPr lvl="1"/>
            <a:r>
              <a:rPr lang="en-US" dirty="0"/>
              <a:t>Comes with basic payload</a:t>
            </a:r>
          </a:p>
          <a:p>
            <a:pPr lvl="1"/>
            <a:r>
              <a:rPr lang="en-US" dirty="0"/>
              <a:t>Add your own payload</a:t>
            </a:r>
          </a:p>
          <a:p>
            <a:pPr marL="0" indent="0">
              <a:buNone/>
            </a:pPr>
            <a:r>
              <a:rPr lang="en-US" dirty="0"/>
              <a:t>Debug with </a:t>
            </a:r>
            <a:r>
              <a:rPr lang="en-US" dirty="0">
                <a:hlinkClick r:id="rId5"/>
              </a:rPr>
              <a:t>Audit Logs</a:t>
            </a:r>
            <a:r>
              <a:rPr lang="en-US" dirty="0"/>
              <a:t> and </a:t>
            </a:r>
            <a:r>
              <a:rPr lang="en-US" dirty="0">
                <a:hlinkClick r:id="rId6"/>
              </a:rPr>
              <a:t>Azure Storage Explorer</a:t>
            </a:r>
            <a:r>
              <a:rPr lang="en-US" dirty="0"/>
              <a:t> </a:t>
            </a:r>
          </a:p>
        </p:txBody>
      </p:sp>
      <p:sp>
        <p:nvSpPr>
          <p:cNvPr id="3" name="Title 2"/>
          <p:cNvSpPr>
            <a:spLocks noGrp="1"/>
          </p:cNvSpPr>
          <p:nvPr>
            <p:ph type="title"/>
          </p:nvPr>
        </p:nvSpPr>
        <p:spPr/>
        <p:txBody>
          <a:bodyPr/>
          <a:lstStyle/>
          <a:p>
            <a:r>
              <a:rPr lang="en-US" dirty="0"/>
              <a:t>Autoscale</a:t>
            </a:r>
          </a:p>
        </p:txBody>
      </p:sp>
    </p:spTree>
    <p:extLst>
      <p:ext uri="{BB962C8B-B14F-4D97-AF65-F5344CB8AC3E}">
        <p14:creationId xmlns:p14="http://schemas.microsoft.com/office/powerpoint/2010/main" val="25163199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DB6DA-CE98-49C8-A1D9-8DAB4B5DE984}"/>
              </a:ext>
            </a:extLst>
          </p:cNvPr>
          <p:cNvSpPr>
            <a:spLocks noGrp="1"/>
          </p:cNvSpPr>
          <p:nvPr>
            <p:ph type="title"/>
          </p:nvPr>
        </p:nvSpPr>
        <p:spPr/>
        <p:txBody>
          <a:bodyPr/>
          <a:lstStyle/>
          <a:p>
            <a:r>
              <a:rPr lang="en-US" dirty="0"/>
              <a:t>IaaS Compute Menu | Click a box</a:t>
            </a:r>
          </a:p>
        </p:txBody>
      </p:sp>
      <mc:AlternateContent xmlns:mc="http://schemas.openxmlformats.org/markup-compatibility/2006">
        <mc:Choice xmlns:psuz="http://schemas.microsoft.com/office/powerpoint/2016/summaryzoom" Requires="psuz">
          <p:graphicFrame>
            <p:nvGraphicFramePr>
              <p:cNvPr id="5" name="Summary Zoom 4">
                <a:extLst>
                  <a:ext uri="{FF2B5EF4-FFF2-40B4-BE49-F238E27FC236}">
                    <a16:creationId xmlns:a16="http://schemas.microsoft.com/office/drawing/2014/main" id="{F42F0C3D-4278-4905-A6DF-5070A358F135}"/>
                  </a:ext>
                </a:extLst>
              </p:cNvPr>
              <p:cNvGraphicFramePr>
                <a:graphicFrameLocks noChangeAspect="1"/>
              </p:cNvGraphicFramePr>
              <p:nvPr>
                <p:extLst>
                  <p:ext uri="{D42A27DB-BD31-4B8C-83A1-F6EECF244321}">
                    <p14:modId xmlns:p14="http://schemas.microsoft.com/office/powerpoint/2010/main" val="1251725795"/>
                  </p:ext>
                </p:extLst>
              </p:nvPr>
            </p:nvGraphicFramePr>
            <p:xfrm>
              <a:off x="-264465" y="2015755"/>
              <a:ext cx="13124622" cy="3377421"/>
            </p:xfrm>
            <a:graphic>
              <a:graphicData uri="http://schemas.microsoft.com/office/powerpoint/2016/summaryzoom">
                <psuz:summaryZm>
                  <psuz:summaryZmObj sectionId="{CF19A081-F51E-489E-99A4-B41D278A85F3}" offsetFactorX="-167">
                    <psuz:zmPr id="{A839468F-5A53-4CDE-98F6-D7E310538E2A}" transitionDur="1000">
                      <p166:blipFill xmlns:p166="http://schemas.microsoft.com/office/powerpoint/2016/6/main">
                        <a:blip r:embed="rId3"/>
                        <a:stretch>
                          <a:fillRect/>
                        </a:stretch>
                      </p166:blipFill>
                      <p166:spPr xmlns:p166="http://schemas.microsoft.com/office/powerpoint/2016/6/main">
                        <a:xfrm>
                          <a:off x="1001866" y="118210"/>
                          <a:ext cx="2701974" cy="1519839"/>
                        </a:xfrm>
                        <a:prstGeom prst="rect">
                          <a:avLst/>
                        </a:prstGeom>
                        <a:ln w="3175">
                          <a:solidFill>
                            <a:prstClr val="ltGray"/>
                          </a:solidFill>
                        </a:ln>
                      </p166:spPr>
                    </psuz:zmPr>
                  </psuz:summaryZmObj>
                  <psuz:summaryZmObj sectionId="{95DD0227-A0AC-4B91-A66E-2FDFFD2B9FB0}">
                    <psuz:zmPr id="{84B75288-B811-4D2C-BA61-22E7F6A007C4}" transitionDur="1000">
                      <p166:blipFill xmlns:p166="http://schemas.microsoft.com/office/powerpoint/2016/6/main">
                        <a:blip r:embed="rId4"/>
                        <a:stretch>
                          <a:fillRect/>
                        </a:stretch>
                      </p166:blipFill>
                      <p166:spPr xmlns:p166="http://schemas.microsoft.com/office/powerpoint/2016/6/main">
                        <a:xfrm>
                          <a:off x="3809675" y="118210"/>
                          <a:ext cx="2701974" cy="1519839"/>
                        </a:xfrm>
                        <a:prstGeom prst="rect">
                          <a:avLst/>
                        </a:prstGeom>
                        <a:ln w="3175">
                          <a:solidFill>
                            <a:prstClr val="ltGray"/>
                          </a:solidFill>
                        </a:ln>
                      </p166:spPr>
                    </psuz:zmPr>
                  </psuz:summaryZmObj>
                  <psuz:summaryZmObj sectionId="{AC20AB61-46F0-471B-8F85-A5458D97B803}">
                    <psuz:zmPr id="{DA6B79D5-C17E-487E-B2F2-2A5E2966AC2E}" transitionDur="1000">
                      <p166:blipFill xmlns:p166="http://schemas.microsoft.com/office/powerpoint/2016/6/main">
                        <a:blip r:embed="rId5"/>
                        <a:stretch>
                          <a:fillRect/>
                        </a:stretch>
                      </p166:blipFill>
                      <p166:spPr xmlns:p166="http://schemas.microsoft.com/office/powerpoint/2016/6/main">
                        <a:xfrm>
                          <a:off x="6612972" y="118210"/>
                          <a:ext cx="2701974" cy="1519839"/>
                        </a:xfrm>
                        <a:prstGeom prst="rect">
                          <a:avLst/>
                        </a:prstGeom>
                        <a:ln w="3175">
                          <a:solidFill>
                            <a:prstClr val="ltGray"/>
                          </a:solidFill>
                        </a:ln>
                      </p166:spPr>
                    </psuz:zmPr>
                  </psuz:summaryZmObj>
                  <psuz:summaryZmObj sectionId="{186FEB4E-A4C8-4768-8C27-77D54EB12161}">
                    <psuz:zmPr id="{1A631596-587F-4B87-B5E6-81DAC9D3531F}" transitionDur="1000">
                      <p166:blipFill xmlns:p166="http://schemas.microsoft.com/office/powerpoint/2016/6/main">
                        <a:blip r:embed="rId6"/>
                        <a:stretch>
                          <a:fillRect/>
                        </a:stretch>
                      </p166:blipFill>
                      <p166:spPr xmlns:p166="http://schemas.microsoft.com/office/powerpoint/2016/6/main">
                        <a:xfrm>
                          <a:off x="9416269" y="118210"/>
                          <a:ext cx="2701974" cy="1519839"/>
                        </a:xfrm>
                        <a:prstGeom prst="rect">
                          <a:avLst/>
                        </a:prstGeom>
                        <a:ln w="3175">
                          <a:solidFill>
                            <a:prstClr val="ltGray"/>
                          </a:solidFill>
                        </a:ln>
                      </p166:spPr>
                    </psuz:zmPr>
                  </psuz:summaryZmObj>
                  <psuz:summaryZmObj sectionId="{536798DD-5EAD-4F3C-AED1-052AD0732ACD}">
                    <psuz:zmPr id="{3F4ED52C-344A-4088-B95E-2CBD63258F0A}" transitionDur="1000">
                      <p166:blipFill xmlns:p166="http://schemas.microsoft.com/office/powerpoint/2016/6/main">
                        <a:blip r:embed="rId7"/>
                        <a:stretch>
                          <a:fillRect/>
                        </a:stretch>
                      </p166:blipFill>
                      <p166:spPr xmlns:p166="http://schemas.microsoft.com/office/powerpoint/2016/6/main">
                        <a:xfrm>
                          <a:off x="1006378" y="1739372"/>
                          <a:ext cx="2701974" cy="1519839"/>
                        </a:xfrm>
                        <a:prstGeom prst="rect">
                          <a:avLst/>
                        </a:prstGeom>
                        <a:ln w="3175">
                          <a:solidFill>
                            <a:prstClr val="ltGray"/>
                          </a:solidFill>
                        </a:ln>
                      </p166:spPr>
                    </psuz:zmPr>
                  </psuz:summaryZmObj>
                  <psuz:summaryZmObj sectionId="{5048CB84-9CD0-4B61-BA31-01C0EB7EC52B}">
                    <psuz:zmPr id="{B85180CD-3D45-4EA3-925B-774E1AE6E18E}" transitionDur="1000">
                      <p166:blipFill xmlns:p166="http://schemas.microsoft.com/office/powerpoint/2016/6/main">
                        <a:blip r:embed="rId8"/>
                        <a:stretch>
                          <a:fillRect/>
                        </a:stretch>
                      </p166:blipFill>
                      <p166:spPr xmlns:p166="http://schemas.microsoft.com/office/powerpoint/2016/6/main">
                        <a:xfrm>
                          <a:off x="3809675" y="1739372"/>
                          <a:ext cx="2701974" cy="1519839"/>
                        </a:xfrm>
                        <a:prstGeom prst="rect">
                          <a:avLst/>
                        </a:prstGeom>
                        <a:ln w="3175">
                          <a:solidFill>
                            <a:prstClr val="ltGray"/>
                          </a:solidFill>
                        </a:ln>
                      </p166:spPr>
                    </psuz:zmPr>
                  </psuz:summaryZmObj>
                  <psuz:summaryZmObj sectionId="{F5902DF3-0D26-4FE0-8A79-FED57A765720}">
                    <psuz:zmPr id="{1F4CF758-F069-449F-B0D9-84BEB73518E7}" transitionDur="1000">
                      <p166:blipFill xmlns:p166="http://schemas.microsoft.com/office/powerpoint/2016/6/main">
                        <a:blip r:embed="rId9"/>
                        <a:stretch>
                          <a:fillRect/>
                        </a:stretch>
                      </p166:blipFill>
                      <p166:spPr xmlns:p166="http://schemas.microsoft.com/office/powerpoint/2016/6/main">
                        <a:xfrm>
                          <a:off x="6612972" y="1739372"/>
                          <a:ext cx="2701974" cy="1519839"/>
                        </a:xfrm>
                        <a:prstGeom prst="rect">
                          <a:avLst/>
                        </a:prstGeom>
                        <a:ln w="3175">
                          <a:solidFill>
                            <a:prstClr val="ltGray"/>
                          </a:solidFill>
                        </a:ln>
                      </p166:spPr>
                    </psuz:zmPr>
                  </psuz:summaryZmObj>
                  <psuz:summaryZmObj sectionId="{B3682016-D0A4-4EE2-BA1F-8E076E02FB0E}">
                    <psuz:zmPr id="{86DCBD2A-9AC1-45B0-ADFA-B113B53346D4}" transitionDur="1000">
                      <p166:blipFill xmlns:p166="http://schemas.microsoft.com/office/powerpoint/2016/6/main">
                        <a:blip r:embed="rId10"/>
                        <a:stretch>
                          <a:fillRect/>
                        </a:stretch>
                      </p166:blipFill>
                      <p166:spPr xmlns:p166="http://schemas.microsoft.com/office/powerpoint/2016/6/main">
                        <a:xfrm>
                          <a:off x="9416269" y="1739372"/>
                          <a:ext cx="2701974" cy="1519839"/>
                        </a:xfrm>
                        <a:prstGeom prst="rect">
                          <a:avLst/>
                        </a:prstGeom>
                        <a:ln w="3175">
                          <a:solidFill>
                            <a:prstClr val="ltGray"/>
                          </a:solidFill>
                        </a:ln>
                      </p166:spPr>
                    </psuz:zmPr>
                  </psuz:summaryZmObj>
                  <psuz:gridLayout/>
                </psuz:summaryZm>
              </a:graphicData>
            </a:graphic>
          </p:graphicFrame>
        </mc:Choice>
        <mc:Fallback>
          <p:grpSp>
            <p:nvGrpSpPr>
              <p:cNvPr id="5" name="Summary Zoom 4">
                <a:extLst>
                  <a:ext uri="{FF2B5EF4-FFF2-40B4-BE49-F238E27FC236}">
                    <a16:creationId xmlns:a16="http://schemas.microsoft.com/office/drawing/2014/main" id="{F42F0C3D-4278-4905-A6DF-5070A358F135}"/>
                  </a:ext>
                </a:extLst>
              </p:cNvPr>
              <p:cNvGrpSpPr>
                <a:grpSpLocks noGrp="1" noUngrp="1" noRot="1" noChangeAspect="1" noMove="1" noResize="1"/>
              </p:cNvGrpSpPr>
              <p:nvPr/>
            </p:nvGrpSpPr>
            <p:grpSpPr>
              <a:xfrm>
                <a:off x="-264465" y="2015755"/>
                <a:ext cx="13124622" cy="3377421"/>
                <a:chOff x="-264465" y="2015755"/>
                <a:chExt cx="13124622" cy="3377421"/>
              </a:xfrm>
            </p:grpSpPr>
            <p:pic>
              <p:nvPicPr>
                <p:cNvPr id="3" name="Picture 3"/>
                <p:cNvPicPr>
                  <a:picLocks noSelect="1" noRot="1" noChangeAspect="1" noMove="1" noResize="1" noEditPoints="1" noAdjustHandles="1" noChangeArrowheads="1" noChangeShapeType="1"/>
                </p:cNvPicPr>
                <p:nvPr/>
              </p:nvPicPr>
              <p:blipFill>
                <a:blip r:embed="rId3"/>
                <a:stretch>
                  <a:fillRect/>
                </a:stretch>
              </p:blipFill>
              <p:spPr>
                <a:xfrm>
                  <a:off x="737401" y="2133965"/>
                  <a:ext cx="2701974" cy="1519839"/>
                </a:xfrm>
                <a:prstGeom prst="rect">
                  <a:avLst/>
                </a:prstGeom>
                <a:ln w="3175">
                  <a:solidFill>
                    <a:prstClr val="ltGray"/>
                  </a:solidFill>
                </a:ln>
              </p:spPr>
            </p:pic>
            <p:pic>
              <p:nvPicPr>
                <p:cNvPr id="4" name="Picture 4">
                  <a:hlinkClick r:id="rId11"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3545210" y="2133965"/>
                  <a:ext cx="2701974" cy="1519839"/>
                </a:xfrm>
                <a:prstGeom prst="rect">
                  <a:avLst/>
                </a:prstGeom>
                <a:ln w="3175">
                  <a:solidFill>
                    <a:prstClr val="ltGray"/>
                  </a:solidFill>
                </a:ln>
              </p:spPr>
            </p:pic>
            <p:pic>
              <p:nvPicPr>
                <p:cNvPr id="6" name="Picture 6">
                  <a:hlinkClick r:id="rId12"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6348507" y="2133965"/>
                  <a:ext cx="2701974" cy="1519839"/>
                </a:xfrm>
                <a:prstGeom prst="rect">
                  <a:avLst/>
                </a:prstGeom>
                <a:ln w="3175">
                  <a:solidFill>
                    <a:prstClr val="ltGray"/>
                  </a:solidFill>
                </a:ln>
              </p:spPr>
            </p:pic>
            <p:pic>
              <p:nvPicPr>
                <p:cNvPr id="7" name="Picture 7">
                  <a:hlinkClick r:id="rId13"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9151804" y="2133965"/>
                  <a:ext cx="2701974" cy="1519839"/>
                </a:xfrm>
                <a:prstGeom prst="rect">
                  <a:avLst/>
                </a:prstGeom>
                <a:ln w="3175">
                  <a:solidFill>
                    <a:prstClr val="ltGray"/>
                  </a:solidFill>
                </a:ln>
              </p:spPr>
            </p:pic>
            <p:pic>
              <p:nvPicPr>
                <p:cNvPr id="8" name="Picture 8">
                  <a:hlinkClick r:id="rId14"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741913" y="3755127"/>
                  <a:ext cx="2701974" cy="1519839"/>
                </a:xfrm>
                <a:prstGeom prst="rect">
                  <a:avLst/>
                </a:prstGeom>
                <a:ln w="3175">
                  <a:solidFill>
                    <a:prstClr val="ltGray"/>
                  </a:solidFill>
                </a:ln>
              </p:spPr>
            </p:pic>
            <p:pic>
              <p:nvPicPr>
                <p:cNvPr id="9" name="Picture 9">
                  <a:hlinkClick r:id="rId15"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3545210" y="3755127"/>
                  <a:ext cx="2701974" cy="1519839"/>
                </a:xfrm>
                <a:prstGeom prst="rect">
                  <a:avLst/>
                </a:prstGeom>
                <a:ln w="3175">
                  <a:solidFill>
                    <a:prstClr val="ltGray"/>
                  </a:solidFill>
                </a:ln>
              </p:spPr>
            </p:pic>
            <p:pic>
              <p:nvPicPr>
                <p:cNvPr id="10" name="Picture 10">
                  <a:hlinkClick r:id="rId16" action="ppaction://hlinksldjump"/>
                </p:cNvPr>
                <p:cNvPicPr>
                  <a:picLocks noSelect="1" noRot="1" noChangeAspect="1" noMove="1" noResize="1" noEditPoints="1" noAdjustHandles="1" noChangeArrowheads="1" noChangeShapeType="1"/>
                </p:cNvPicPr>
                <p:nvPr/>
              </p:nvPicPr>
              <p:blipFill>
                <a:blip r:embed="rId9"/>
                <a:stretch>
                  <a:fillRect/>
                </a:stretch>
              </p:blipFill>
              <p:spPr>
                <a:xfrm>
                  <a:off x="6348507" y="3755127"/>
                  <a:ext cx="2701974" cy="1519839"/>
                </a:xfrm>
                <a:prstGeom prst="rect">
                  <a:avLst/>
                </a:prstGeom>
                <a:ln w="3175">
                  <a:solidFill>
                    <a:prstClr val="ltGray"/>
                  </a:solidFill>
                </a:ln>
              </p:spPr>
            </p:pic>
            <p:pic>
              <p:nvPicPr>
                <p:cNvPr id="11" name="Picture 11">
                  <a:hlinkClick r:id="rId17" action="ppaction://hlinksldjump"/>
                </p:cNvPr>
                <p:cNvPicPr>
                  <a:picLocks noSelect="1" noRot="1" noChangeAspect="1" noMove="1" noResize="1" noEditPoints="1" noAdjustHandles="1" noChangeArrowheads="1" noChangeShapeType="1"/>
                </p:cNvPicPr>
                <p:nvPr/>
              </p:nvPicPr>
              <p:blipFill>
                <a:blip r:embed="rId10"/>
                <a:stretch>
                  <a:fillRect/>
                </a:stretch>
              </p:blipFill>
              <p:spPr>
                <a:xfrm>
                  <a:off x="9151804" y="3755127"/>
                  <a:ext cx="2701974" cy="1519839"/>
                </a:xfrm>
                <a:prstGeom prst="rect">
                  <a:avLst/>
                </a:prstGeom>
                <a:ln w="3175">
                  <a:solidFill>
                    <a:prstClr val="ltGray"/>
                  </a:solidFill>
                </a:ln>
              </p:spPr>
            </p:pic>
          </p:grpSp>
        </mc:Fallback>
      </mc:AlternateContent>
    </p:spTree>
    <p:extLst>
      <p:ext uri="{BB962C8B-B14F-4D97-AF65-F5344CB8AC3E}">
        <p14:creationId xmlns:p14="http://schemas.microsoft.com/office/powerpoint/2010/main" val="15118988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erts &amp; Autoscale notifications with PagerDut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505" y="1135364"/>
            <a:ext cx="10247869" cy="5638080"/>
          </a:xfrm>
          <a:prstGeom prst="rect">
            <a:avLst/>
          </a:prstGeom>
        </p:spPr>
      </p:pic>
    </p:spTree>
    <p:extLst>
      <p:ext uri="{BB962C8B-B14F-4D97-AF65-F5344CB8AC3E}">
        <p14:creationId xmlns:p14="http://schemas.microsoft.com/office/powerpoint/2010/main" val="426152048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366169" y="2659062"/>
            <a:ext cx="11690437" cy="1098762"/>
          </a:xfrm>
          <a:prstGeom prst="rect">
            <a:avLst/>
          </a:prstGeom>
          <a:noFill/>
        </p:spPr>
        <p:txBody>
          <a:bodyPr vert="horz" wrap="square" lIns="146304" tIns="91440" rIns="146304" bIns="91440" rtlCol="0" anchor="t" anchorCtr="0">
            <a:spAutoFit/>
          </a:bodyPr>
          <a:lstStyle>
            <a:lvl1pPr algn="l" defTabSz="932649" rtl="0" eaLnBrk="1" latinLnBrk="0" hangingPunct="1">
              <a:lnSpc>
                <a:spcPct val="90000"/>
              </a:lnSpc>
              <a:spcBef>
                <a:spcPct val="0"/>
              </a:spcBef>
              <a:buNone/>
              <a:defRPr lang="en-US" sz="7199"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lvl="0" algn="ctr"/>
            <a:r>
              <a:rPr lang="en-CA" sz="6600" dirty="0">
                <a:gradFill>
                  <a:gsLst>
                    <a:gs pos="100000">
                      <a:srgbClr val="FFFFFF"/>
                    </a:gs>
                    <a:gs pos="0">
                      <a:srgbClr val="FFFFFF"/>
                    </a:gs>
                  </a:gsLst>
                  <a:lin ang="5400000" scaled="0"/>
                </a:gradFill>
              </a:rPr>
              <a:t>Cost Considerations</a:t>
            </a:r>
            <a:endParaRPr kumimoji="0" lang="en-CA" sz="7199"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Light"/>
              <a:ea typeface="+mn-ea"/>
              <a:cs typeface="Segoe UI" pitchFamily="34" charset="0"/>
            </a:endParaRPr>
          </a:p>
        </p:txBody>
      </p:sp>
      <p:pic>
        <p:nvPicPr>
          <p:cNvPr id="6" name="Picture 9">
            <a:extLst>
              <a:ext uri="{FF2B5EF4-FFF2-40B4-BE49-F238E27FC236}">
                <a16:creationId xmlns:a16="http://schemas.microsoft.com/office/drawing/2014/main" id="{A63088C8-0FCD-4480-91AF-F1CD0277C89E}"/>
              </a:ext>
            </a:extLst>
          </p:cNvPr>
          <p:cNvPicPr>
            <a:picLocks noChangeAspect="1" noChangeArrowheads="1"/>
          </p:cNvPicPr>
          <p:nvPr/>
        </p:nvPicPr>
        <p:blipFill>
          <a:blip r:embed="rId3" cstate="email">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760635" y="3800561"/>
            <a:ext cx="2209800" cy="2982006"/>
          </a:xfrm>
          <a:prstGeom prst="rect">
            <a:avLst/>
          </a:prstGeom>
          <a:solidFill>
            <a:schemeClr val="tx1"/>
          </a:solidFill>
          <a:ln>
            <a:noFill/>
          </a:ln>
          <a:effectLst/>
          <a:extLst/>
        </p:spPr>
      </p:pic>
    </p:spTree>
    <p:extLst>
      <p:ext uri="{BB962C8B-B14F-4D97-AF65-F5344CB8AC3E}">
        <p14:creationId xmlns:p14="http://schemas.microsoft.com/office/powerpoint/2010/main" val="11120915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0728076" cy="5226046"/>
          </a:xfrm>
        </p:spPr>
        <p:txBody>
          <a:bodyPr/>
          <a:lstStyle/>
          <a:p>
            <a:pPr marL="0" indent="0">
              <a:buNone/>
            </a:pPr>
            <a:r>
              <a:rPr lang="en-US" dirty="0">
                <a:solidFill>
                  <a:schemeClr val="accent1"/>
                </a:solidFill>
              </a:rPr>
              <a:t>Budgeting consumption vs. traditional IT investment</a:t>
            </a:r>
          </a:p>
          <a:p>
            <a:pPr marL="342900" lvl="1" indent="-342900" defTabSz="932594"/>
            <a:r>
              <a:rPr lang="en-US" sz="2000" dirty="0"/>
              <a:t>The shift to consumption budget planning is challenging</a:t>
            </a:r>
          </a:p>
          <a:p>
            <a:pPr marL="342900" lvl="1" indent="-342900" defTabSz="932594"/>
            <a:r>
              <a:rPr lang="en-US" sz="2000" dirty="0"/>
              <a:t>Current IT spend does not consider this model</a:t>
            </a:r>
          </a:p>
          <a:p>
            <a:pPr marL="0" indent="0">
              <a:buNone/>
            </a:pPr>
            <a:r>
              <a:rPr lang="en-US" dirty="0">
                <a:solidFill>
                  <a:schemeClr val="accent1"/>
                </a:solidFill>
              </a:rPr>
              <a:t>Azure IaaS migration is not always 1:1</a:t>
            </a:r>
          </a:p>
          <a:p>
            <a:pPr marL="342900" lvl="1" indent="-342900" defTabSz="932594"/>
            <a:r>
              <a:rPr lang="en-US" sz="2000" dirty="0"/>
              <a:t>Current model is to “over-purchase” for on-premises solutions </a:t>
            </a:r>
          </a:p>
          <a:p>
            <a:pPr marL="342900" lvl="1" indent="-342900" defTabSz="932594"/>
            <a:r>
              <a:rPr lang="en-US" sz="2000" dirty="0"/>
              <a:t>Simplistic review of the existing infrastructure does not accurately reflect the expected Azure footprint </a:t>
            </a:r>
            <a:r>
              <a:rPr lang="en-US" sz="2000" dirty="0">
                <a:sym typeface="Wingdings" panose="05000000000000000000" pitchFamily="2" charset="2"/>
              </a:rPr>
              <a:t></a:t>
            </a:r>
            <a:r>
              <a:rPr lang="en-US" sz="2000" dirty="0"/>
              <a:t> “right-size”</a:t>
            </a:r>
          </a:p>
          <a:p>
            <a:pPr marL="0" indent="0">
              <a:buNone/>
            </a:pPr>
            <a:r>
              <a:rPr lang="en-US" dirty="0">
                <a:solidFill>
                  <a:schemeClr val="accent1"/>
                </a:solidFill>
              </a:rPr>
              <a:t>Consumption budgeting requires a shift in thinking</a:t>
            </a:r>
          </a:p>
          <a:p>
            <a:pPr marL="342900" lvl="1" indent="-342900" defTabSz="932594"/>
            <a:r>
              <a:rPr lang="en-US" sz="2000" dirty="0"/>
              <a:t>Shift thinking towards understanding utilization and scaling</a:t>
            </a:r>
          </a:p>
          <a:p>
            <a:pPr marL="342900" lvl="1" indent="-342900" defTabSz="932594"/>
            <a:r>
              <a:rPr lang="en-US" sz="2000" dirty="0"/>
              <a:t>Focus on initial deployment followed by incremental growth</a:t>
            </a:r>
          </a:p>
          <a:p>
            <a:pPr marL="342900" lvl="1" indent="-342900" defTabSz="932594"/>
            <a:r>
              <a:rPr lang="en-US" sz="2000" dirty="0"/>
              <a:t>Take advantage of the elasticity of Azure services as part of transition</a:t>
            </a:r>
          </a:p>
          <a:p>
            <a:pPr marL="342900" lvl="1" indent="-342900" defTabSz="932594"/>
            <a:endParaRPr lang="en-US" sz="2000" dirty="0"/>
          </a:p>
          <a:p>
            <a:pPr marL="0" lvl="1" indent="0" defTabSz="932594">
              <a:buNone/>
            </a:pPr>
            <a:r>
              <a:rPr lang="en-US" sz="2000" dirty="0"/>
              <a:t>Watch </a:t>
            </a:r>
            <a:r>
              <a:rPr lang="en-US" sz="2000" dirty="0">
                <a:hlinkClick r:id="rId3"/>
              </a:rPr>
              <a:t>Cost Savings with Azure Virtual Machines</a:t>
            </a:r>
            <a:r>
              <a:rPr lang="en-US" sz="2000" dirty="0"/>
              <a:t> @MS Ignite 2017</a:t>
            </a:r>
          </a:p>
        </p:txBody>
      </p:sp>
      <p:sp>
        <p:nvSpPr>
          <p:cNvPr id="3" name="Title 2"/>
          <p:cNvSpPr>
            <a:spLocks noGrp="1"/>
          </p:cNvSpPr>
          <p:nvPr>
            <p:ph type="title"/>
          </p:nvPr>
        </p:nvSpPr>
        <p:spPr/>
        <p:txBody>
          <a:bodyPr/>
          <a:lstStyle/>
          <a:p>
            <a:r>
              <a:rPr lang="en-US" sz="4800"/>
              <a:t>Cost considerations</a:t>
            </a:r>
          </a:p>
        </p:txBody>
      </p:sp>
    </p:spTree>
    <p:extLst>
      <p:ext uri="{BB962C8B-B14F-4D97-AF65-F5344CB8AC3E}">
        <p14:creationId xmlns:p14="http://schemas.microsoft.com/office/powerpoint/2010/main" val="325947725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7527675" cy="3908762"/>
          </a:xfrm>
        </p:spPr>
        <p:txBody>
          <a:bodyPr/>
          <a:lstStyle/>
          <a:p>
            <a:pPr marL="0" indent="0">
              <a:buNone/>
            </a:pPr>
            <a:r>
              <a:rPr lang="en-US">
                <a:solidFill>
                  <a:schemeClr val="tx1"/>
                </a:solidFill>
              </a:rPr>
              <a:t>One of the primary considerations when constructing solutions</a:t>
            </a:r>
            <a:endParaRPr lang="en-US">
              <a:solidFill>
                <a:schemeClr val="accent1"/>
              </a:solidFill>
            </a:endParaRPr>
          </a:p>
          <a:p>
            <a:pPr marL="0" indent="0">
              <a:buNone/>
            </a:pPr>
            <a:r>
              <a:rPr lang="en-US">
                <a:solidFill>
                  <a:schemeClr val="accent1"/>
                </a:solidFill>
              </a:rPr>
              <a:t>Cost </a:t>
            </a:r>
            <a:r>
              <a:rPr lang="en-US" i="1">
                <a:solidFill>
                  <a:schemeClr val="accent1"/>
                </a:solidFill>
              </a:rPr>
              <a:t>factors</a:t>
            </a:r>
          </a:p>
          <a:p>
            <a:pPr marL="342900" lvl="1" indent="-342900" defTabSz="932594"/>
            <a:r>
              <a:rPr lang="en-US" sz="2000"/>
              <a:t>The high-level cost model and measurement </a:t>
            </a:r>
            <a:br>
              <a:rPr lang="en-US" sz="2000"/>
            </a:br>
            <a:r>
              <a:rPr lang="en-US" sz="2000"/>
              <a:t>(e.g. cost per hour for Virtual Machines) </a:t>
            </a:r>
          </a:p>
          <a:p>
            <a:pPr marL="0" indent="0">
              <a:buNone/>
            </a:pPr>
            <a:r>
              <a:rPr lang="en-US">
                <a:solidFill>
                  <a:schemeClr val="accent1"/>
                </a:solidFill>
              </a:rPr>
              <a:t>Cost </a:t>
            </a:r>
            <a:r>
              <a:rPr lang="en-US" i="1">
                <a:solidFill>
                  <a:schemeClr val="accent1"/>
                </a:solidFill>
              </a:rPr>
              <a:t>drivers</a:t>
            </a:r>
          </a:p>
          <a:p>
            <a:pPr marL="342900" lvl="1" indent="-342900" defTabSz="932594"/>
            <a:r>
              <a:rPr lang="en-US" sz="2000"/>
              <a:t>The unit-level costs and design decisions which impact costs (e.g. the number of active Virtual Machines required, or the type of storage utilized)</a:t>
            </a:r>
          </a:p>
        </p:txBody>
      </p:sp>
      <p:sp>
        <p:nvSpPr>
          <p:cNvPr id="3" name="Title 2"/>
          <p:cNvSpPr>
            <a:spLocks noGrp="1"/>
          </p:cNvSpPr>
          <p:nvPr>
            <p:ph type="title"/>
          </p:nvPr>
        </p:nvSpPr>
        <p:spPr/>
        <p:txBody>
          <a:bodyPr/>
          <a:lstStyle/>
          <a:p>
            <a:r>
              <a:rPr lang="en-US" sz="4800"/>
              <a:t>Cost</a:t>
            </a:r>
            <a:endParaRPr lang="en-US"/>
          </a:p>
        </p:txBody>
      </p:sp>
      <p:pic>
        <p:nvPicPr>
          <p:cNvPr id="5" name="Picture 9"/>
          <p:cNvPicPr>
            <a:picLocks noChangeAspect="1" noChangeArrowheads="1"/>
          </p:cNvPicPr>
          <p:nvPr/>
        </p:nvPicPr>
        <p:blipFill>
          <a:blip r:embed="rId3" cstate="email">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8427244" y="2278062"/>
            <a:ext cx="2209800" cy="2982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575632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18569" y="4476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Virtual Machine Types</a:t>
            </a:r>
          </a:p>
        </p:txBody>
      </p:sp>
      <p:graphicFrame>
        <p:nvGraphicFramePr>
          <p:cNvPr id="3" name="Diagram 2">
            <a:extLst>
              <a:ext uri="{FF2B5EF4-FFF2-40B4-BE49-F238E27FC236}">
                <a16:creationId xmlns:a16="http://schemas.microsoft.com/office/drawing/2014/main" id="{F37DFFF0-358B-4AA6-B5EE-3F6BA1485232}"/>
              </a:ext>
            </a:extLst>
          </p:cNvPr>
          <p:cNvGraphicFramePr/>
          <p:nvPr>
            <p:extLst>
              <p:ext uri="{D42A27DB-BD31-4B8C-83A1-F6EECF244321}">
                <p14:modId xmlns:p14="http://schemas.microsoft.com/office/powerpoint/2010/main" val="3872345489"/>
              </p:ext>
            </p:extLst>
          </p:nvPr>
        </p:nvGraphicFramePr>
        <p:xfrm>
          <a:off x="1604020" y="370098"/>
          <a:ext cx="8742664" cy="6254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9021E224-F6D9-40FA-9F06-D7597C7DB78E}"/>
              </a:ext>
            </a:extLst>
          </p:cNvPr>
          <p:cNvSpPr txBox="1"/>
          <p:nvPr/>
        </p:nvSpPr>
        <p:spPr>
          <a:xfrm>
            <a:off x="184682" y="1472950"/>
            <a:ext cx="2128719" cy="627864"/>
          </a:xfrm>
          <a:prstGeom prst="rect">
            <a:avLst/>
          </a:prstGeom>
          <a:noFill/>
        </p:spPr>
        <p:txBody>
          <a:bodyPr wrap="square" lIns="182880" tIns="146304" rIns="182880" bIns="146304" rtlCol="0">
            <a:spAutoFit/>
          </a:bodyPr>
          <a:lstStyle/>
          <a:p>
            <a:pPr>
              <a:lnSpc>
                <a:spcPct val="90000"/>
              </a:lnSpc>
              <a:spcAft>
                <a:spcPts val="600"/>
              </a:spcAft>
            </a:pPr>
            <a:r>
              <a:rPr lang="sv-SE" sz="1200" dirty="0">
                <a:effectLst>
                  <a:outerShdw blurRad="38100" dist="38100" dir="2700000" algn="tl">
                    <a:srgbClr val="000000">
                      <a:alpha val="43137"/>
                    </a:srgbClr>
                  </a:outerShdw>
                </a:effectLst>
              </a:rPr>
              <a:t>B, Dsv3, Dv3, DSv2, Dv2, DS, D, Av2, A0-7</a:t>
            </a:r>
            <a:endParaRPr lang="en-US" sz="1600" dirty="0" err="1">
              <a:gradFill>
                <a:gsLst>
                  <a:gs pos="2917">
                    <a:schemeClr val="tx1"/>
                  </a:gs>
                  <a:gs pos="30000">
                    <a:schemeClr val="tx1"/>
                  </a:gs>
                </a:gsLst>
                <a:lin ang="5400000" scaled="0"/>
              </a:gradFill>
              <a:effectLst>
                <a:outerShdw blurRad="38100" dist="38100" dir="2700000" algn="tl">
                  <a:srgbClr val="000000">
                    <a:alpha val="43137"/>
                  </a:srgbClr>
                </a:outerShdw>
              </a:effectLst>
            </a:endParaRPr>
          </a:p>
        </p:txBody>
      </p:sp>
      <p:sp>
        <p:nvSpPr>
          <p:cNvPr id="7" name="TextBox 6">
            <a:extLst>
              <a:ext uri="{FF2B5EF4-FFF2-40B4-BE49-F238E27FC236}">
                <a16:creationId xmlns:a16="http://schemas.microsoft.com/office/drawing/2014/main" id="{2BA1D887-A266-4659-9D20-6A4C15A2AD3C}"/>
              </a:ext>
            </a:extLst>
          </p:cNvPr>
          <p:cNvSpPr txBox="1"/>
          <p:nvPr/>
        </p:nvSpPr>
        <p:spPr>
          <a:xfrm>
            <a:off x="423794" y="2166961"/>
            <a:ext cx="2128719" cy="461665"/>
          </a:xfrm>
          <a:prstGeom prst="rect">
            <a:avLst/>
          </a:prstGeom>
          <a:noFill/>
        </p:spPr>
        <p:txBody>
          <a:bodyPr wrap="square" lIns="182880" tIns="146304" rIns="182880" bIns="146304" rtlCol="0">
            <a:spAutoFit/>
          </a:bodyPr>
          <a:lstStyle/>
          <a:p>
            <a:pPr>
              <a:lnSpc>
                <a:spcPct val="90000"/>
              </a:lnSpc>
              <a:spcAft>
                <a:spcPts val="600"/>
              </a:spcAft>
            </a:pPr>
            <a:r>
              <a:rPr lang="sv-SE" sz="1200" dirty="0">
                <a:effectLst>
                  <a:outerShdw blurRad="38100" dist="38100" dir="2700000" algn="tl">
                    <a:srgbClr val="000000">
                      <a:alpha val="43137"/>
                    </a:srgbClr>
                  </a:outerShdw>
                </a:effectLst>
              </a:rPr>
              <a:t>Fsv2, Fs, F</a:t>
            </a:r>
            <a:endParaRPr lang="en-US" sz="1600" dirty="0" err="1">
              <a:gradFill>
                <a:gsLst>
                  <a:gs pos="2917">
                    <a:schemeClr val="tx1"/>
                  </a:gs>
                  <a:gs pos="30000">
                    <a:schemeClr val="tx1"/>
                  </a:gs>
                </a:gsLst>
                <a:lin ang="5400000" scaled="0"/>
              </a:gradFill>
              <a:effectLst>
                <a:outerShdw blurRad="38100" dist="38100" dir="2700000" algn="tl">
                  <a:srgbClr val="000000">
                    <a:alpha val="43137"/>
                  </a:srgbClr>
                </a:outerShdw>
              </a:effectLst>
            </a:endParaRPr>
          </a:p>
        </p:txBody>
      </p:sp>
      <p:sp>
        <p:nvSpPr>
          <p:cNvPr id="8" name="TextBox 7">
            <a:extLst>
              <a:ext uri="{FF2B5EF4-FFF2-40B4-BE49-F238E27FC236}">
                <a16:creationId xmlns:a16="http://schemas.microsoft.com/office/drawing/2014/main" id="{AF250653-C9A0-4605-9283-70CE86C103AE}"/>
              </a:ext>
            </a:extLst>
          </p:cNvPr>
          <p:cNvSpPr txBox="1"/>
          <p:nvPr/>
        </p:nvSpPr>
        <p:spPr>
          <a:xfrm>
            <a:off x="635548" y="2760091"/>
            <a:ext cx="2246982" cy="627864"/>
          </a:xfrm>
          <a:prstGeom prst="rect">
            <a:avLst/>
          </a:prstGeom>
          <a:noFill/>
        </p:spPr>
        <p:txBody>
          <a:bodyPr wrap="square" lIns="182880" tIns="146304" rIns="182880" bIns="146304" rtlCol="0">
            <a:spAutoFit/>
          </a:bodyPr>
          <a:lstStyle/>
          <a:p>
            <a:pPr>
              <a:lnSpc>
                <a:spcPct val="90000"/>
              </a:lnSpc>
              <a:spcAft>
                <a:spcPts val="600"/>
              </a:spcAft>
            </a:pPr>
            <a:r>
              <a:rPr lang="sv-SE" sz="1200" dirty="0">
                <a:effectLst>
                  <a:outerShdw blurRad="38100" dist="38100" dir="2700000" algn="tl">
                    <a:srgbClr val="000000">
                      <a:alpha val="43137"/>
                    </a:srgbClr>
                  </a:outerShdw>
                </a:effectLst>
              </a:rPr>
              <a:t>Esv3, Ev3, M, GS, G, DSv2, DS, Dv2, D</a:t>
            </a:r>
            <a:endParaRPr lang="en-US" sz="1600" dirty="0" err="1">
              <a:gradFill>
                <a:gsLst>
                  <a:gs pos="2917">
                    <a:schemeClr val="tx1"/>
                  </a:gs>
                  <a:gs pos="30000">
                    <a:schemeClr val="tx1"/>
                  </a:gs>
                </a:gsLst>
                <a:lin ang="5400000" scaled="0"/>
              </a:gradFill>
              <a:effectLst>
                <a:outerShdw blurRad="38100" dist="38100" dir="2700000" algn="tl">
                  <a:srgbClr val="000000">
                    <a:alpha val="43137"/>
                  </a:srgbClr>
                </a:outerShdw>
              </a:effectLst>
            </a:endParaRPr>
          </a:p>
        </p:txBody>
      </p:sp>
      <p:sp>
        <p:nvSpPr>
          <p:cNvPr id="9" name="TextBox 8">
            <a:extLst>
              <a:ext uri="{FF2B5EF4-FFF2-40B4-BE49-F238E27FC236}">
                <a16:creationId xmlns:a16="http://schemas.microsoft.com/office/drawing/2014/main" id="{28864E2D-B68A-4462-B0F6-334C124FF3E4}"/>
              </a:ext>
            </a:extLst>
          </p:cNvPr>
          <p:cNvSpPr txBox="1"/>
          <p:nvPr/>
        </p:nvSpPr>
        <p:spPr>
          <a:xfrm>
            <a:off x="860026" y="3553949"/>
            <a:ext cx="743994" cy="461665"/>
          </a:xfrm>
          <a:prstGeom prst="rect">
            <a:avLst/>
          </a:prstGeom>
          <a:noFill/>
        </p:spPr>
        <p:txBody>
          <a:bodyPr wrap="square" lIns="182880" tIns="146304" rIns="182880" bIns="146304" rtlCol="0">
            <a:spAutoFit/>
          </a:bodyPr>
          <a:lstStyle/>
          <a:p>
            <a:pPr>
              <a:lnSpc>
                <a:spcPct val="90000"/>
              </a:lnSpc>
              <a:spcAft>
                <a:spcPts val="600"/>
              </a:spcAft>
            </a:pPr>
            <a:r>
              <a:rPr lang="sv-SE" sz="1200" dirty="0">
                <a:effectLst>
                  <a:outerShdw blurRad="38100" dist="38100" dir="2700000" algn="tl">
                    <a:srgbClr val="000000">
                      <a:alpha val="43137"/>
                    </a:srgbClr>
                  </a:outerShdw>
                </a:effectLst>
              </a:rPr>
              <a:t>Ls</a:t>
            </a:r>
            <a:endParaRPr lang="en-US" sz="1600" dirty="0" err="1">
              <a:gradFill>
                <a:gsLst>
                  <a:gs pos="2917">
                    <a:schemeClr val="tx1"/>
                  </a:gs>
                  <a:gs pos="30000">
                    <a:schemeClr val="tx1"/>
                  </a:gs>
                </a:gsLst>
                <a:lin ang="5400000" scaled="0"/>
              </a:gradFill>
              <a:effectLst>
                <a:outerShdw blurRad="38100" dist="38100" dir="2700000" algn="tl">
                  <a:srgbClr val="000000">
                    <a:alpha val="43137"/>
                  </a:srgbClr>
                </a:outerShdw>
              </a:effectLst>
            </a:endParaRPr>
          </a:p>
        </p:txBody>
      </p:sp>
      <p:sp>
        <p:nvSpPr>
          <p:cNvPr id="10" name="TextBox 9">
            <a:extLst>
              <a:ext uri="{FF2B5EF4-FFF2-40B4-BE49-F238E27FC236}">
                <a16:creationId xmlns:a16="http://schemas.microsoft.com/office/drawing/2014/main" id="{306FC97A-18EC-4A29-A052-C1BD75CA6738}"/>
              </a:ext>
            </a:extLst>
          </p:cNvPr>
          <p:cNvSpPr txBox="1"/>
          <p:nvPr/>
        </p:nvSpPr>
        <p:spPr>
          <a:xfrm>
            <a:off x="332953" y="4356924"/>
            <a:ext cx="2128719" cy="461665"/>
          </a:xfrm>
          <a:prstGeom prst="rect">
            <a:avLst/>
          </a:prstGeom>
          <a:noFill/>
        </p:spPr>
        <p:txBody>
          <a:bodyPr wrap="square" lIns="182880" tIns="146304" rIns="182880" bIns="146304" rtlCol="0">
            <a:spAutoFit/>
          </a:bodyPr>
          <a:lstStyle/>
          <a:p>
            <a:pPr>
              <a:lnSpc>
                <a:spcPct val="90000"/>
              </a:lnSpc>
              <a:spcAft>
                <a:spcPts val="600"/>
              </a:spcAft>
            </a:pPr>
            <a:r>
              <a:rPr lang="sv-SE" sz="1200" dirty="0">
                <a:effectLst>
                  <a:outerShdw blurRad="38100" dist="38100" dir="2700000" algn="tl">
                    <a:srgbClr val="000000">
                      <a:alpha val="43137"/>
                    </a:srgbClr>
                  </a:outerShdw>
                </a:effectLst>
              </a:rPr>
              <a:t>NV, NC, NCv2, ND</a:t>
            </a:r>
            <a:endParaRPr lang="en-US" sz="1600" dirty="0" err="1">
              <a:gradFill>
                <a:gsLst>
                  <a:gs pos="2917">
                    <a:schemeClr val="tx1"/>
                  </a:gs>
                  <a:gs pos="30000">
                    <a:schemeClr val="tx1"/>
                  </a:gs>
                </a:gsLst>
                <a:lin ang="5400000" scaled="0"/>
              </a:gradFill>
              <a:effectLst>
                <a:outerShdw blurRad="38100" dist="38100" dir="2700000" algn="tl">
                  <a:srgbClr val="000000">
                    <a:alpha val="43137"/>
                  </a:srgbClr>
                </a:outerShdw>
              </a:effectLst>
            </a:endParaRPr>
          </a:p>
        </p:txBody>
      </p:sp>
      <p:sp>
        <p:nvSpPr>
          <p:cNvPr id="11" name="TextBox 10">
            <a:extLst>
              <a:ext uri="{FF2B5EF4-FFF2-40B4-BE49-F238E27FC236}">
                <a16:creationId xmlns:a16="http://schemas.microsoft.com/office/drawing/2014/main" id="{CF350BBB-697D-44D3-A9B7-2C4CFE6F3E44}"/>
              </a:ext>
            </a:extLst>
          </p:cNvPr>
          <p:cNvSpPr txBox="1"/>
          <p:nvPr/>
        </p:nvSpPr>
        <p:spPr>
          <a:xfrm>
            <a:off x="331498" y="5301130"/>
            <a:ext cx="1227632" cy="461665"/>
          </a:xfrm>
          <a:prstGeom prst="rect">
            <a:avLst/>
          </a:prstGeom>
          <a:noFill/>
        </p:spPr>
        <p:txBody>
          <a:bodyPr wrap="square" lIns="182880" tIns="146304" rIns="182880" bIns="146304" rtlCol="0">
            <a:spAutoFit/>
          </a:bodyPr>
          <a:lstStyle/>
          <a:p>
            <a:pPr>
              <a:lnSpc>
                <a:spcPct val="90000"/>
              </a:lnSpc>
              <a:spcAft>
                <a:spcPts val="600"/>
              </a:spcAft>
            </a:pPr>
            <a:r>
              <a:rPr lang="sv-SE" sz="1200" dirty="0">
                <a:effectLst>
                  <a:outerShdw blurRad="38100" dist="38100" dir="2700000" algn="tl">
                    <a:srgbClr val="000000">
                      <a:alpha val="43137"/>
                    </a:srgbClr>
                  </a:outerShdw>
                </a:effectLst>
              </a:rPr>
              <a:t>H, A8-11</a:t>
            </a:r>
            <a:endParaRPr lang="en-US" sz="1600" dirty="0" err="1">
              <a:gradFill>
                <a:gsLst>
                  <a:gs pos="2917">
                    <a:schemeClr val="tx1"/>
                  </a:gs>
                  <a:gs pos="30000">
                    <a:schemeClr val="tx1"/>
                  </a:gs>
                </a:gsLst>
                <a:lin ang="5400000" scaled="0"/>
              </a:gradFill>
              <a:effectLst>
                <a:outerShdw blurRad="38100" dist="38100" dir="2700000" algn="tl">
                  <a:srgbClr val="000000">
                    <a:alpha val="43137"/>
                  </a:srgbClr>
                </a:outerShdw>
              </a:effectLst>
            </a:endParaRPr>
          </a:p>
        </p:txBody>
      </p:sp>
      <p:sp>
        <p:nvSpPr>
          <p:cNvPr id="12" name="Rectangle 11">
            <a:extLst>
              <a:ext uri="{FF2B5EF4-FFF2-40B4-BE49-F238E27FC236}">
                <a16:creationId xmlns:a16="http://schemas.microsoft.com/office/drawing/2014/main" id="{B66A53B4-BE5E-44E5-A379-AC7FE4314AA3}"/>
              </a:ext>
            </a:extLst>
          </p:cNvPr>
          <p:cNvSpPr/>
          <p:nvPr/>
        </p:nvSpPr>
        <p:spPr>
          <a:xfrm>
            <a:off x="1926837" y="6335715"/>
            <a:ext cx="2204642" cy="369332"/>
          </a:xfrm>
          <a:prstGeom prst="rect">
            <a:avLst/>
          </a:prstGeom>
        </p:spPr>
        <p:txBody>
          <a:bodyPr wrap="none">
            <a:spAutoFit/>
          </a:bodyPr>
          <a:lstStyle/>
          <a:p>
            <a:r>
              <a:rPr lang="en-US" dirty="0">
                <a:hlinkClick r:id="rId8"/>
              </a:rPr>
              <a:t>aka.ms/Azure/Sizes</a:t>
            </a:r>
            <a:r>
              <a:rPr lang="en-US" dirty="0"/>
              <a:t> </a:t>
            </a:r>
          </a:p>
        </p:txBody>
      </p:sp>
    </p:spTree>
    <p:extLst>
      <p:ext uri="{BB962C8B-B14F-4D97-AF65-F5344CB8AC3E}">
        <p14:creationId xmlns:p14="http://schemas.microsoft.com/office/powerpoint/2010/main" val="311867673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3E97495-403F-46E5-97DC-A0D8A005983B}"/>
              </a:ext>
            </a:extLst>
          </p:cNvPr>
          <p:cNvGrpSpPr/>
          <p:nvPr/>
        </p:nvGrpSpPr>
        <p:grpSpPr>
          <a:xfrm>
            <a:off x="823696" y="2195191"/>
            <a:ext cx="7000505" cy="1066932"/>
            <a:chOff x="806857" y="2177075"/>
            <a:chExt cx="10803073" cy="1046240"/>
          </a:xfrm>
        </p:grpSpPr>
        <p:sp>
          <p:nvSpPr>
            <p:cNvPr id="9" name="Rectangle 8"/>
            <p:cNvSpPr/>
            <p:nvPr/>
          </p:nvSpPr>
          <p:spPr bwMode="auto">
            <a:xfrm>
              <a:off x="806857" y="2177075"/>
              <a:ext cx="2998228" cy="1046240"/>
            </a:xfrm>
            <a:prstGeom prst="rect">
              <a:avLst/>
            </a:prstGeom>
            <a:solidFill>
              <a:schemeClr val="accent1"/>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279745" tIns="91415" rIns="91415" bIns="91415" numCol="1" spcCol="0" rtlCol="0" fromWordArt="0" anchor="ctr" anchorCtr="0" forceAA="0" compatLnSpc="1">
              <a:prstTxWarp prst="textNoShape">
                <a:avLst/>
              </a:prstTxWarp>
              <a:noAutofit/>
            </a:bodyPr>
            <a:lstStyle/>
            <a:p>
              <a:pPr defTabSz="932200" fontAlgn="base">
                <a:lnSpc>
                  <a:spcPct val="110000"/>
                </a:lnSpc>
                <a:spcBef>
                  <a:spcPct val="0"/>
                </a:spcBef>
                <a:spcAft>
                  <a:spcPct val="0"/>
                </a:spcAft>
                <a:defRPr/>
              </a:pPr>
              <a:r>
                <a:rPr lang="en-US" sz="2000"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ea typeface="Segoe UI" pitchFamily="34" charset="0"/>
                  <a:cs typeface="Segoe UI" pitchFamily="34" charset="0"/>
                </a:rPr>
                <a:t>Virtual Machine Reservation</a:t>
              </a:r>
            </a:p>
          </p:txBody>
        </p:sp>
        <p:sp>
          <p:nvSpPr>
            <p:cNvPr id="10" name="TextBox 9"/>
            <p:cNvSpPr txBox="1"/>
            <p:nvPr/>
          </p:nvSpPr>
          <p:spPr>
            <a:xfrm>
              <a:off x="3805085" y="2177075"/>
              <a:ext cx="7804845" cy="1046240"/>
            </a:xfrm>
            <a:prstGeom prst="rect">
              <a:avLst/>
            </a:prstGeom>
            <a:noFill/>
            <a:ln w="19050">
              <a:solidFill>
                <a:schemeClr val="accent1"/>
              </a:solidFill>
            </a:ln>
          </p:spPr>
          <p:txBody>
            <a:bodyPr wrap="square" lIns="182831" tIns="91415" rIns="182831" bIns="91415" rtlCol="0" anchor="ctr" anchorCtr="0">
              <a:noAutofit/>
            </a:bodyPr>
            <a:lstStyle/>
            <a:p>
              <a:pPr defTabSz="932504">
                <a:lnSpc>
                  <a:spcPct val="110000"/>
                </a:lnSpc>
                <a:spcAft>
                  <a:spcPts val="612"/>
                </a:spcAft>
                <a:defRPr/>
              </a:pPr>
              <a:r>
                <a:rPr lang="en-US" sz="2000" kern="0" dirty="0">
                  <a:solidFill>
                    <a:srgbClr val="2F2F2F"/>
                  </a:solidFill>
                  <a:latin typeface="Segoe UI" panose="020B0502040204020203" pitchFamily="34" charset="0"/>
                  <a:cs typeface="Segoe UI" panose="020B0502040204020203" pitchFamily="34" charset="0"/>
                </a:rPr>
                <a:t>Select VM size, region, term (one or three years), and quantity. There is no need to select OS.</a:t>
              </a:r>
            </a:p>
          </p:txBody>
        </p:sp>
      </p:grpSp>
      <p:grpSp>
        <p:nvGrpSpPr>
          <p:cNvPr id="4" name="Group 3">
            <a:extLst>
              <a:ext uri="{FF2B5EF4-FFF2-40B4-BE49-F238E27FC236}">
                <a16:creationId xmlns:a16="http://schemas.microsoft.com/office/drawing/2014/main" id="{3B726263-509D-4152-A196-63FBB3206D29}"/>
              </a:ext>
            </a:extLst>
          </p:cNvPr>
          <p:cNvGrpSpPr/>
          <p:nvPr/>
        </p:nvGrpSpPr>
        <p:grpSpPr>
          <a:xfrm>
            <a:off x="823696" y="3565003"/>
            <a:ext cx="7000505" cy="1066932"/>
            <a:chOff x="806857" y="3361667"/>
            <a:chExt cx="10803073" cy="1046240"/>
          </a:xfrm>
        </p:grpSpPr>
        <p:sp>
          <p:nvSpPr>
            <p:cNvPr id="20" name="Rectangle 19"/>
            <p:cNvSpPr/>
            <p:nvPr/>
          </p:nvSpPr>
          <p:spPr bwMode="auto">
            <a:xfrm>
              <a:off x="806857" y="3361667"/>
              <a:ext cx="2998228" cy="1046240"/>
            </a:xfrm>
            <a:prstGeom prst="rect">
              <a:avLst/>
            </a:prstGeom>
            <a:solidFill>
              <a:schemeClr val="accent1"/>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279745" tIns="91415" rIns="91415" bIns="91415" numCol="1" spcCol="0" rtlCol="0" fromWordArt="0" anchor="ctr" anchorCtr="0" forceAA="0" compatLnSpc="1">
              <a:prstTxWarp prst="textNoShape">
                <a:avLst/>
              </a:prstTxWarp>
              <a:noAutofit/>
            </a:bodyPr>
            <a:lstStyle/>
            <a:p>
              <a:pPr defTabSz="932200" fontAlgn="base">
                <a:lnSpc>
                  <a:spcPct val="110000"/>
                </a:lnSpc>
                <a:spcBef>
                  <a:spcPct val="0"/>
                </a:spcBef>
                <a:spcAft>
                  <a:spcPct val="0"/>
                </a:spcAft>
                <a:defRPr/>
              </a:pPr>
              <a:r>
                <a:rPr lang="en-US" sz="2000"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ea typeface="Segoe UI" pitchFamily="34" charset="0"/>
                  <a:cs typeface="Segoe UI" pitchFamily="34" charset="0"/>
                </a:rPr>
                <a:t>Integration with A Hybrid Benefit</a:t>
              </a:r>
            </a:p>
          </p:txBody>
        </p:sp>
        <p:sp>
          <p:nvSpPr>
            <p:cNvPr id="21" name="TextBox 20"/>
            <p:cNvSpPr txBox="1"/>
            <p:nvPr/>
          </p:nvSpPr>
          <p:spPr>
            <a:xfrm>
              <a:off x="3805085" y="3361667"/>
              <a:ext cx="7804845" cy="1046240"/>
            </a:xfrm>
            <a:prstGeom prst="rect">
              <a:avLst/>
            </a:prstGeom>
            <a:noFill/>
            <a:ln w="19050">
              <a:solidFill>
                <a:schemeClr val="accent1"/>
              </a:solidFill>
            </a:ln>
          </p:spPr>
          <p:txBody>
            <a:bodyPr wrap="square" lIns="182831" tIns="91415" rIns="182831" bIns="91415" rtlCol="0" anchor="ctr" anchorCtr="0">
              <a:noAutofit/>
            </a:bodyPr>
            <a:lstStyle/>
            <a:p>
              <a:pPr defTabSz="932504">
                <a:lnSpc>
                  <a:spcPct val="110000"/>
                </a:lnSpc>
                <a:spcAft>
                  <a:spcPts val="612"/>
                </a:spcAft>
                <a:defRPr/>
              </a:pPr>
              <a:r>
                <a:rPr lang="en-US" sz="2000" kern="0" dirty="0">
                  <a:solidFill>
                    <a:srgbClr val="2F2F2F"/>
                  </a:solidFill>
                  <a:latin typeface="Segoe UI" panose="020B0502040204020203" pitchFamily="34" charset="0"/>
                  <a:cs typeface="Segoe UI" panose="020B0502040204020203" pitchFamily="34" charset="0"/>
                </a:rPr>
                <a:t>You can use Azure Hybrid Benefit for Windows Server or pay hourly based on usage.</a:t>
              </a:r>
            </a:p>
          </p:txBody>
        </p:sp>
      </p:grpSp>
      <p:grpSp>
        <p:nvGrpSpPr>
          <p:cNvPr id="6" name="Group 5">
            <a:extLst>
              <a:ext uri="{FF2B5EF4-FFF2-40B4-BE49-F238E27FC236}">
                <a16:creationId xmlns:a16="http://schemas.microsoft.com/office/drawing/2014/main" id="{DDBFE528-CE34-4246-8C59-827A4BFB5AE4}"/>
              </a:ext>
            </a:extLst>
          </p:cNvPr>
          <p:cNvGrpSpPr/>
          <p:nvPr/>
        </p:nvGrpSpPr>
        <p:grpSpPr>
          <a:xfrm>
            <a:off x="823696" y="4934817"/>
            <a:ext cx="7000505" cy="1066932"/>
            <a:chOff x="806857" y="4624421"/>
            <a:chExt cx="10803073" cy="1046240"/>
          </a:xfrm>
        </p:grpSpPr>
        <p:sp>
          <p:nvSpPr>
            <p:cNvPr id="23" name="Rectangle 22"/>
            <p:cNvSpPr/>
            <p:nvPr/>
          </p:nvSpPr>
          <p:spPr bwMode="auto">
            <a:xfrm>
              <a:off x="806857" y="4624421"/>
              <a:ext cx="2998228" cy="1046240"/>
            </a:xfrm>
            <a:prstGeom prst="rect">
              <a:avLst/>
            </a:prstGeom>
            <a:solidFill>
              <a:schemeClr val="accent1"/>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279745" tIns="91415" rIns="91415" bIns="91415" numCol="1" spcCol="0" rtlCol="0" fromWordArt="0" anchor="ctr" anchorCtr="0" forceAA="0" compatLnSpc="1">
              <a:prstTxWarp prst="textNoShape">
                <a:avLst/>
              </a:prstTxWarp>
              <a:noAutofit/>
            </a:bodyPr>
            <a:lstStyle/>
            <a:p>
              <a:pPr defTabSz="932200" fontAlgn="base">
                <a:lnSpc>
                  <a:spcPct val="110000"/>
                </a:lnSpc>
                <a:spcBef>
                  <a:spcPct val="0"/>
                </a:spcBef>
                <a:spcAft>
                  <a:spcPct val="0"/>
                </a:spcAft>
                <a:defRPr/>
              </a:pPr>
              <a:r>
                <a:rPr lang="en-US" sz="2000"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ea typeface="Segoe UI" pitchFamily="34" charset="0"/>
                  <a:cs typeface="Segoe UI" pitchFamily="34" charset="0"/>
                </a:rPr>
                <a:t>Flexible across OS choice</a:t>
              </a:r>
            </a:p>
          </p:txBody>
        </p:sp>
        <p:sp>
          <p:nvSpPr>
            <p:cNvPr id="24" name="TextBox 23"/>
            <p:cNvSpPr txBox="1"/>
            <p:nvPr/>
          </p:nvSpPr>
          <p:spPr>
            <a:xfrm>
              <a:off x="3805085" y="4624421"/>
              <a:ext cx="7804845" cy="1046240"/>
            </a:xfrm>
            <a:prstGeom prst="rect">
              <a:avLst/>
            </a:prstGeom>
            <a:noFill/>
            <a:ln w="19050">
              <a:solidFill>
                <a:schemeClr val="accent1"/>
              </a:solidFill>
            </a:ln>
          </p:spPr>
          <p:txBody>
            <a:bodyPr wrap="square" lIns="182831" tIns="91415" rIns="182831" bIns="91415" rtlCol="0" anchor="ctr" anchorCtr="0">
              <a:noAutofit/>
            </a:bodyPr>
            <a:lstStyle/>
            <a:p>
              <a:pPr defTabSz="932504">
                <a:lnSpc>
                  <a:spcPct val="110000"/>
                </a:lnSpc>
                <a:spcAft>
                  <a:spcPts val="612"/>
                </a:spcAft>
                <a:defRPr/>
              </a:pPr>
              <a:r>
                <a:rPr lang="en-US" sz="2000" kern="0" dirty="0">
                  <a:solidFill>
                    <a:srgbClr val="2F2F2F"/>
                  </a:solidFill>
                  <a:latin typeface="Segoe UI" panose="020B0502040204020203" pitchFamily="34" charset="0"/>
                  <a:cs typeface="Segoe UI" panose="020B0502040204020203" pitchFamily="34" charset="0"/>
                </a:rPr>
                <a:t>Reservations are for the “base VM” and can be applied to either Windows Server and/or non-Windows Server VMs.</a:t>
              </a:r>
            </a:p>
          </p:txBody>
        </p:sp>
      </p:grpSp>
      <p:sp>
        <p:nvSpPr>
          <p:cNvPr id="19" name="Title 4">
            <a:extLst>
              <a:ext uri="{FF2B5EF4-FFF2-40B4-BE49-F238E27FC236}">
                <a16:creationId xmlns:a16="http://schemas.microsoft.com/office/drawing/2014/main" id="{7226BB18-AC85-4BC4-98CE-F12B623C6310}"/>
              </a:ext>
            </a:extLst>
          </p:cNvPr>
          <p:cNvSpPr txBox="1">
            <a:spLocks/>
          </p:cNvSpPr>
          <p:nvPr/>
        </p:nvSpPr>
        <p:spPr>
          <a:xfrm>
            <a:off x="275446" y="295684"/>
            <a:ext cx="11886361" cy="742993"/>
          </a:xfrm>
          <a:prstGeom prst="rect">
            <a:avLst/>
          </a:prstGeom>
        </p:spPr>
        <p:txBody>
          <a:bodyPr vert="horz" wrap="square" lIns="149198" tIns="93248" rIns="149198" bIns="93248" rtlCol="0" anchor="t">
            <a:normAutofit lnSpcReduction="10000"/>
          </a:bodyPr>
          <a:lstStyle>
            <a:lvl1pPr marL="0" algn="l" defTabSz="914367" rtl="0" eaLnBrk="1" latinLnBrk="0" hangingPunct="1">
              <a:lnSpc>
                <a:spcPct val="90000"/>
              </a:lnSpc>
              <a:spcBef>
                <a:spcPct val="0"/>
              </a:spcBef>
              <a:buNone/>
              <a:defRPr lang="en-US" sz="5100" b="0" kern="1200" cap="none" spc="-100" baseline="0">
                <a:ln w="3175">
                  <a:noFill/>
                </a:ln>
                <a:gradFill>
                  <a:gsLst>
                    <a:gs pos="62564">
                      <a:schemeClr val="accent1"/>
                    </a:gs>
                    <a:gs pos="55000">
                      <a:schemeClr val="accent1"/>
                    </a:gs>
                  </a:gsLst>
                  <a:lin ang="5400000" scaled="0"/>
                </a:gradFill>
                <a:effectLst/>
                <a:latin typeface="+mj-lt"/>
                <a:ea typeface="+mn-ea"/>
                <a:cs typeface="Segoe UI" pitchFamily="34" charset="0"/>
              </a:defRPr>
            </a:lvl1pPr>
          </a:lstStyle>
          <a:p>
            <a:pPr defTabSz="932470">
              <a:defRPr/>
            </a:pPr>
            <a:r>
              <a:rPr lang="en-US" sz="4080" spc="-102">
                <a:gradFill>
                  <a:gsLst>
                    <a:gs pos="62564">
                      <a:srgbClr val="0078D7"/>
                    </a:gs>
                    <a:gs pos="55000">
                      <a:srgbClr val="0078D7"/>
                    </a:gs>
                  </a:gsLst>
                  <a:lin ang="5400000" scaled="0"/>
                </a:gradFill>
                <a:latin typeface="Segoe UI Light"/>
              </a:rPr>
              <a:t>Azure Reserved Virtual Machine Instances | Overview</a:t>
            </a:r>
          </a:p>
        </p:txBody>
      </p:sp>
      <p:sp>
        <p:nvSpPr>
          <p:cNvPr id="2" name="Rectangle 1">
            <a:extLst>
              <a:ext uri="{FF2B5EF4-FFF2-40B4-BE49-F238E27FC236}">
                <a16:creationId xmlns:a16="http://schemas.microsoft.com/office/drawing/2014/main" id="{801EFD66-CA38-44F7-B394-5E2CBFA674D0}"/>
              </a:ext>
            </a:extLst>
          </p:cNvPr>
          <p:cNvSpPr/>
          <p:nvPr/>
        </p:nvSpPr>
        <p:spPr>
          <a:xfrm>
            <a:off x="754711" y="6304631"/>
            <a:ext cx="4596579" cy="369332"/>
          </a:xfrm>
          <a:prstGeom prst="rect">
            <a:avLst/>
          </a:prstGeom>
        </p:spPr>
        <p:txBody>
          <a:bodyPr wrap="none">
            <a:spAutoFit/>
          </a:bodyPr>
          <a:lstStyle/>
          <a:p>
            <a:r>
              <a:rPr lang="en-US" dirty="0">
                <a:hlinkClick r:id="rId3"/>
              </a:rPr>
              <a:t>aka.ms/Azure/RI</a:t>
            </a:r>
            <a:r>
              <a:rPr lang="en-US" dirty="0"/>
              <a:t> GA effective Nov 16, 2017 </a:t>
            </a:r>
          </a:p>
        </p:txBody>
      </p:sp>
      <p:pic>
        <p:nvPicPr>
          <p:cNvPr id="3" name="Picture 2">
            <a:extLst>
              <a:ext uri="{FF2B5EF4-FFF2-40B4-BE49-F238E27FC236}">
                <a16:creationId xmlns:a16="http://schemas.microsoft.com/office/drawing/2014/main" id="{5B6B46E8-584C-4D44-BDC6-98EEE0D53590}"/>
              </a:ext>
            </a:extLst>
          </p:cNvPr>
          <p:cNvPicPr>
            <a:picLocks noChangeAspect="1"/>
          </p:cNvPicPr>
          <p:nvPr/>
        </p:nvPicPr>
        <p:blipFill>
          <a:blip r:embed="rId4"/>
          <a:stretch>
            <a:fillRect/>
          </a:stretch>
        </p:blipFill>
        <p:spPr>
          <a:xfrm>
            <a:off x="8315664" y="2621972"/>
            <a:ext cx="3605239" cy="27956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8237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7"/>
          <p:cNvSpPr/>
          <p:nvPr/>
        </p:nvSpPr>
        <p:spPr bwMode="auto">
          <a:xfrm>
            <a:off x="10348618" y="2353857"/>
            <a:ext cx="1609645" cy="1609645"/>
          </a:xfrm>
          <a:prstGeom prst="ellipse">
            <a:avLst/>
          </a:prstGeom>
          <a:solidFill>
            <a:schemeClr val="bg1">
              <a:lumMod val="95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p:cNvSpPr>
            <a:spLocks noGrp="1"/>
          </p:cNvSpPr>
          <p:nvPr>
            <p:ph type="title"/>
          </p:nvPr>
        </p:nvSpPr>
        <p:spPr/>
        <p:txBody>
          <a:bodyPr/>
          <a:lstStyle/>
          <a:p>
            <a:r>
              <a:rPr lang="en-US" sz="4080"/>
              <a:t>Azure Reserved Virtual Machine Instances | Benefits</a:t>
            </a:r>
          </a:p>
        </p:txBody>
      </p:sp>
      <p:sp>
        <p:nvSpPr>
          <p:cNvPr id="4" name="Oval 3"/>
          <p:cNvSpPr/>
          <p:nvPr/>
        </p:nvSpPr>
        <p:spPr bwMode="auto">
          <a:xfrm>
            <a:off x="472268" y="2353857"/>
            <a:ext cx="1609645" cy="1609645"/>
          </a:xfrm>
          <a:prstGeom prst="ellipse">
            <a:avLst/>
          </a:prstGeom>
          <a:solidFill>
            <a:schemeClr val="bg1">
              <a:lumMod val="95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Oval 5"/>
          <p:cNvSpPr/>
          <p:nvPr/>
        </p:nvSpPr>
        <p:spPr bwMode="auto">
          <a:xfrm>
            <a:off x="2941356" y="2353857"/>
            <a:ext cx="1609645" cy="1609645"/>
          </a:xfrm>
          <a:prstGeom prst="ellipse">
            <a:avLst/>
          </a:prstGeom>
          <a:solidFill>
            <a:schemeClr val="bg1">
              <a:lumMod val="95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Oval 6"/>
          <p:cNvSpPr/>
          <p:nvPr/>
        </p:nvSpPr>
        <p:spPr bwMode="auto">
          <a:xfrm>
            <a:off x="5410443" y="2353857"/>
            <a:ext cx="1609645" cy="1609645"/>
          </a:xfrm>
          <a:prstGeom prst="ellipse">
            <a:avLst/>
          </a:prstGeom>
          <a:solidFill>
            <a:schemeClr val="bg1">
              <a:lumMod val="95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p:cNvSpPr/>
          <p:nvPr/>
        </p:nvSpPr>
        <p:spPr bwMode="auto">
          <a:xfrm>
            <a:off x="7879531" y="2353857"/>
            <a:ext cx="1609645" cy="1609645"/>
          </a:xfrm>
          <a:prstGeom prst="ellipse">
            <a:avLst/>
          </a:prstGeom>
          <a:solidFill>
            <a:schemeClr val="bg1">
              <a:lumMod val="95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Box 8"/>
          <p:cNvSpPr txBox="1"/>
          <p:nvPr/>
        </p:nvSpPr>
        <p:spPr>
          <a:xfrm flipH="1">
            <a:off x="-126314" y="4126531"/>
            <a:ext cx="2695325" cy="992855"/>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2448">
                <a:gradFill>
                  <a:gsLst>
                    <a:gs pos="2917">
                      <a:srgbClr val="2F2F2F"/>
                    </a:gs>
                    <a:gs pos="30000">
                      <a:srgbClr val="2F2F2F"/>
                    </a:gs>
                  </a:gsLst>
                  <a:lin ang="5400000" scaled="0"/>
                </a:gradFill>
                <a:latin typeface="Segoe UI Light"/>
              </a:rPr>
              <a:t>Predictable </a:t>
            </a:r>
            <a:br>
              <a:rPr lang="en-US" sz="2448">
                <a:gradFill>
                  <a:gsLst>
                    <a:gs pos="2917">
                      <a:srgbClr val="2F2F2F"/>
                    </a:gs>
                    <a:gs pos="30000">
                      <a:srgbClr val="2F2F2F"/>
                    </a:gs>
                  </a:gsLst>
                  <a:lin ang="5400000" scaled="0"/>
                </a:gradFill>
                <a:latin typeface="Segoe UI Light"/>
              </a:rPr>
            </a:br>
            <a:r>
              <a:rPr lang="en-US" sz="2448">
                <a:gradFill>
                  <a:gsLst>
                    <a:gs pos="2917">
                      <a:srgbClr val="2F2F2F"/>
                    </a:gs>
                    <a:gs pos="30000">
                      <a:srgbClr val="2F2F2F"/>
                    </a:gs>
                  </a:gsLst>
                  <a:lin ang="5400000" scaled="0"/>
                </a:gradFill>
                <a:latin typeface="Segoe UI Light"/>
              </a:rPr>
              <a:t>price</a:t>
            </a:r>
          </a:p>
        </p:txBody>
      </p:sp>
      <p:sp>
        <p:nvSpPr>
          <p:cNvPr id="10" name="TextBox 9"/>
          <p:cNvSpPr txBox="1"/>
          <p:nvPr/>
        </p:nvSpPr>
        <p:spPr>
          <a:xfrm flipH="1">
            <a:off x="2358114" y="4126532"/>
            <a:ext cx="2695325" cy="979358"/>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2448">
                <a:gradFill>
                  <a:gsLst>
                    <a:gs pos="2917">
                      <a:srgbClr val="2F2F2F"/>
                    </a:gs>
                    <a:gs pos="30000">
                      <a:srgbClr val="2F2F2F"/>
                    </a:gs>
                  </a:gsLst>
                  <a:lin ang="5400000" scaled="0"/>
                </a:gradFill>
                <a:latin typeface="Segoe UI Light"/>
              </a:rPr>
              <a:t>Prioritized compute capacity</a:t>
            </a:r>
          </a:p>
        </p:txBody>
      </p:sp>
      <p:sp>
        <p:nvSpPr>
          <p:cNvPr id="11" name="TextBox 10"/>
          <p:cNvSpPr txBox="1"/>
          <p:nvPr/>
        </p:nvSpPr>
        <p:spPr>
          <a:xfrm flipH="1">
            <a:off x="4842543" y="4126531"/>
            <a:ext cx="2695325" cy="992855"/>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2448">
                <a:gradFill>
                  <a:gsLst>
                    <a:gs pos="2917">
                      <a:srgbClr val="2F2F2F"/>
                    </a:gs>
                    <a:gs pos="30000">
                      <a:srgbClr val="2F2F2F"/>
                    </a:gs>
                  </a:gsLst>
                  <a:lin ang="5400000" scaled="0"/>
                </a:gradFill>
                <a:latin typeface="Segoe UI Light"/>
              </a:rPr>
              <a:t>Ease of</a:t>
            </a:r>
            <a:br>
              <a:rPr lang="en-US" sz="2448">
                <a:gradFill>
                  <a:gsLst>
                    <a:gs pos="2917">
                      <a:srgbClr val="2F2F2F"/>
                    </a:gs>
                    <a:gs pos="30000">
                      <a:srgbClr val="2F2F2F"/>
                    </a:gs>
                  </a:gsLst>
                  <a:lin ang="5400000" scaled="0"/>
                </a:gradFill>
                <a:latin typeface="Segoe UI Light"/>
              </a:rPr>
            </a:br>
            <a:r>
              <a:rPr lang="en-US" sz="2448">
                <a:gradFill>
                  <a:gsLst>
                    <a:gs pos="2917">
                      <a:srgbClr val="2F2F2F"/>
                    </a:gs>
                    <a:gs pos="30000">
                      <a:srgbClr val="2F2F2F"/>
                    </a:gs>
                  </a:gsLst>
                  <a:lin ang="5400000" scaled="0"/>
                </a:gradFill>
                <a:latin typeface="Segoe UI Light"/>
              </a:rPr>
              <a:t>purchase</a:t>
            </a:r>
          </a:p>
        </p:txBody>
      </p:sp>
      <p:sp>
        <p:nvSpPr>
          <p:cNvPr id="12" name="TextBox 11"/>
          <p:cNvSpPr txBox="1"/>
          <p:nvPr/>
        </p:nvSpPr>
        <p:spPr>
          <a:xfrm flipH="1">
            <a:off x="9811400" y="4126531"/>
            <a:ext cx="2695325" cy="992855"/>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2448">
                <a:gradFill>
                  <a:gsLst>
                    <a:gs pos="2917">
                      <a:srgbClr val="2F2F2F"/>
                    </a:gs>
                    <a:gs pos="30000">
                      <a:srgbClr val="2F2F2F"/>
                    </a:gs>
                  </a:gsLst>
                  <a:lin ang="5400000" scaled="0"/>
                </a:gradFill>
                <a:latin typeface="Segoe UI Light"/>
              </a:rPr>
              <a:t>Post-purchase flexibility</a:t>
            </a:r>
          </a:p>
        </p:txBody>
      </p:sp>
      <p:sp>
        <p:nvSpPr>
          <p:cNvPr id="14" name="Freeform 8"/>
          <p:cNvSpPr>
            <a:spLocks noEditPoints="1"/>
          </p:cNvSpPr>
          <p:nvPr/>
        </p:nvSpPr>
        <p:spPr bwMode="auto">
          <a:xfrm>
            <a:off x="925668" y="2894118"/>
            <a:ext cx="578566" cy="582494"/>
          </a:xfrm>
          <a:custGeom>
            <a:avLst/>
            <a:gdLst>
              <a:gd name="T0" fmla="*/ 87 w 485"/>
              <a:gd name="T1" fmla="*/ 0 h 488"/>
              <a:gd name="T2" fmla="*/ 70 w 485"/>
              <a:gd name="T3" fmla="*/ 258 h 488"/>
              <a:gd name="T4" fmla="*/ 36 w 485"/>
              <a:gd name="T5" fmla="*/ 275 h 488"/>
              <a:gd name="T6" fmla="*/ 40 w 485"/>
              <a:gd name="T7" fmla="*/ 292 h 488"/>
              <a:gd name="T8" fmla="*/ 5 w 485"/>
              <a:gd name="T9" fmla="*/ 372 h 488"/>
              <a:gd name="T10" fmla="*/ 5 w 485"/>
              <a:gd name="T11" fmla="*/ 396 h 488"/>
              <a:gd name="T12" fmla="*/ 114 w 485"/>
              <a:gd name="T13" fmla="*/ 481 h 488"/>
              <a:gd name="T14" fmla="*/ 199 w 485"/>
              <a:gd name="T15" fmla="*/ 451 h 488"/>
              <a:gd name="T16" fmla="*/ 228 w 485"/>
              <a:gd name="T17" fmla="*/ 443 h 488"/>
              <a:gd name="T18" fmla="*/ 331 w 485"/>
              <a:gd name="T19" fmla="*/ 400 h 488"/>
              <a:gd name="T20" fmla="*/ 348 w 485"/>
              <a:gd name="T21" fmla="*/ 477 h 488"/>
              <a:gd name="T22" fmla="*/ 485 w 485"/>
              <a:gd name="T23" fmla="*/ 460 h 488"/>
              <a:gd name="T24" fmla="*/ 468 w 485"/>
              <a:gd name="T25" fmla="*/ 0 h 488"/>
              <a:gd name="T26" fmla="*/ 201 w 485"/>
              <a:gd name="T27" fmla="*/ 405 h 488"/>
              <a:gd name="T28" fmla="*/ 182 w 485"/>
              <a:gd name="T29" fmla="*/ 387 h 488"/>
              <a:gd name="T30" fmla="*/ 163 w 485"/>
              <a:gd name="T31" fmla="*/ 384 h 488"/>
              <a:gd name="T32" fmla="*/ 159 w 485"/>
              <a:gd name="T33" fmla="*/ 387 h 488"/>
              <a:gd name="T34" fmla="*/ 41 w 485"/>
              <a:gd name="T35" fmla="*/ 385 h 488"/>
              <a:gd name="T36" fmla="*/ 106 w 485"/>
              <a:gd name="T37" fmla="*/ 315 h 488"/>
              <a:gd name="T38" fmla="*/ 99 w 485"/>
              <a:gd name="T39" fmla="*/ 304 h 488"/>
              <a:gd name="T40" fmla="*/ 86 w 485"/>
              <a:gd name="T41" fmla="*/ 290 h 488"/>
              <a:gd name="T42" fmla="*/ 207 w 485"/>
              <a:gd name="T43" fmla="*/ 379 h 488"/>
              <a:gd name="T44" fmla="*/ 451 w 485"/>
              <a:gd name="T45" fmla="*/ 444 h 488"/>
              <a:gd name="T46" fmla="*/ 365 w 485"/>
              <a:gd name="T47" fmla="*/ 397 h 488"/>
              <a:gd name="T48" fmla="*/ 451 w 485"/>
              <a:gd name="T49" fmla="*/ 444 h 488"/>
              <a:gd name="T50" fmla="*/ 210 w 485"/>
              <a:gd name="T51" fmla="*/ 106 h 488"/>
              <a:gd name="T52" fmla="*/ 104 w 485"/>
              <a:gd name="T53" fmla="*/ 154 h 488"/>
              <a:gd name="T54" fmla="*/ 233 w 485"/>
              <a:gd name="T55" fmla="*/ 106 h 488"/>
              <a:gd name="T56" fmla="*/ 337 w 485"/>
              <a:gd name="T57" fmla="*/ 154 h 488"/>
              <a:gd name="T58" fmla="*/ 233 w 485"/>
              <a:gd name="T59" fmla="*/ 106 h 488"/>
              <a:gd name="T60" fmla="*/ 451 w 485"/>
              <a:gd name="T61" fmla="*/ 106 h 488"/>
              <a:gd name="T62" fmla="*/ 359 w 485"/>
              <a:gd name="T63" fmla="*/ 154 h 488"/>
              <a:gd name="T64" fmla="*/ 451 w 485"/>
              <a:gd name="T65" fmla="*/ 83 h 488"/>
              <a:gd name="T66" fmla="*/ 104 w 485"/>
              <a:gd name="T67" fmla="*/ 34 h 488"/>
              <a:gd name="T68" fmla="*/ 451 w 485"/>
              <a:gd name="T69" fmla="*/ 83 h 488"/>
              <a:gd name="T70" fmla="*/ 210 w 485"/>
              <a:gd name="T71" fmla="*/ 176 h 488"/>
              <a:gd name="T72" fmla="*/ 104 w 485"/>
              <a:gd name="T73" fmla="*/ 224 h 488"/>
              <a:gd name="T74" fmla="*/ 233 w 485"/>
              <a:gd name="T75" fmla="*/ 224 h 488"/>
              <a:gd name="T76" fmla="*/ 337 w 485"/>
              <a:gd name="T77" fmla="*/ 176 h 488"/>
              <a:gd name="T78" fmla="*/ 233 w 485"/>
              <a:gd name="T79" fmla="*/ 224 h 488"/>
              <a:gd name="T80" fmla="*/ 451 w 485"/>
              <a:gd name="T81" fmla="*/ 176 h 488"/>
              <a:gd name="T82" fmla="*/ 359 w 485"/>
              <a:gd name="T83" fmla="*/ 224 h 488"/>
              <a:gd name="T84" fmla="*/ 451 w 485"/>
              <a:gd name="T85" fmla="*/ 247 h 488"/>
              <a:gd name="T86" fmla="*/ 359 w 485"/>
              <a:gd name="T87" fmla="*/ 292 h 488"/>
              <a:gd name="T88" fmla="*/ 451 w 485"/>
              <a:gd name="T89" fmla="*/ 247 h 488"/>
              <a:gd name="T90" fmla="*/ 178 w 485"/>
              <a:gd name="T91" fmla="*/ 247 h 488"/>
              <a:gd name="T92" fmla="*/ 104 w 485"/>
              <a:gd name="T93" fmla="*/ 247 h 488"/>
              <a:gd name="T94" fmla="*/ 337 w 485"/>
              <a:gd name="T95" fmla="*/ 247 h 488"/>
              <a:gd name="T96" fmla="*/ 250 w 485"/>
              <a:gd name="T97" fmla="*/ 292 h 488"/>
              <a:gd name="T98" fmla="*/ 451 w 485"/>
              <a:gd name="T99" fmla="*/ 320 h 488"/>
              <a:gd name="T100" fmla="*/ 359 w 485"/>
              <a:gd name="T101" fmla="*/ 369 h 488"/>
              <a:gd name="T102" fmla="*/ 451 w 485"/>
              <a:gd name="T103" fmla="*/ 320 h 488"/>
              <a:gd name="T104" fmla="*/ 243 w 485"/>
              <a:gd name="T105" fmla="*/ 320 h 488"/>
              <a:gd name="T106" fmla="*/ 337 w 485"/>
              <a:gd name="T107" fmla="*/ 36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5" h="488">
                <a:moveTo>
                  <a:pt x="468" y="0"/>
                </a:moveTo>
                <a:cubicBezTo>
                  <a:pt x="87" y="0"/>
                  <a:pt x="87" y="0"/>
                  <a:pt x="87" y="0"/>
                </a:cubicBezTo>
                <a:cubicBezTo>
                  <a:pt x="78" y="0"/>
                  <a:pt x="70" y="7"/>
                  <a:pt x="70" y="17"/>
                </a:cubicBezTo>
                <a:cubicBezTo>
                  <a:pt x="70" y="17"/>
                  <a:pt x="70" y="234"/>
                  <a:pt x="70" y="258"/>
                </a:cubicBezTo>
                <a:cubicBezTo>
                  <a:pt x="60" y="261"/>
                  <a:pt x="48" y="263"/>
                  <a:pt x="48" y="263"/>
                </a:cubicBezTo>
                <a:cubicBezTo>
                  <a:pt x="42" y="265"/>
                  <a:pt x="37" y="269"/>
                  <a:pt x="36" y="275"/>
                </a:cubicBezTo>
                <a:cubicBezTo>
                  <a:pt x="35" y="277"/>
                  <a:pt x="35" y="278"/>
                  <a:pt x="35" y="280"/>
                </a:cubicBezTo>
                <a:cubicBezTo>
                  <a:pt x="35" y="284"/>
                  <a:pt x="37" y="288"/>
                  <a:pt x="40" y="292"/>
                </a:cubicBezTo>
                <a:cubicBezTo>
                  <a:pt x="40" y="292"/>
                  <a:pt x="52" y="304"/>
                  <a:pt x="63" y="315"/>
                </a:cubicBezTo>
                <a:cubicBezTo>
                  <a:pt x="46" y="331"/>
                  <a:pt x="5" y="372"/>
                  <a:pt x="5" y="372"/>
                </a:cubicBezTo>
                <a:cubicBezTo>
                  <a:pt x="2" y="376"/>
                  <a:pt x="0" y="380"/>
                  <a:pt x="0" y="384"/>
                </a:cubicBezTo>
                <a:cubicBezTo>
                  <a:pt x="0" y="389"/>
                  <a:pt x="2" y="393"/>
                  <a:pt x="5" y="396"/>
                </a:cubicBezTo>
                <a:cubicBezTo>
                  <a:pt x="90" y="481"/>
                  <a:pt x="90" y="481"/>
                  <a:pt x="90" y="481"/>
                </a:cubicBezTo>
                <a:cubicBezTo>
                  <a:pt x="96" y="488"/>
                  <a:pt x="107" y="488"/>
                  <a:pt x="114" y="481"/>
                </a:cubicBezTo>
                <a:cubicBezTo>
                  <a:pt x="114" y="481"/>
                  <a:pt x="155" y="440"/>
                  <a:pt x="171" y="423"/>
                </a:cubicBezTo>
                <a:cubicBezTo>
                  <a:pt x="183" y="435"/>
                  <a:pt x="199" y="451"/>
                  <a:pt x="199" y="451"/>
                </a:cubicBezTo>
                <a:cubicBezTo>
                  <a:pt x="204" y="456"/>
                  <a:pt x="210" y="457"/>
                  <a:pt x="216" y="455"/>
                </a:cubicBezTo>
                <a:cubicBezTo>
                  <a:pt x="222" y="454"/>
                  <a:pt x="226" y="449"/>
                  <a:pt x="228" y="443"/>
                </a:cubicBezTo>
                <a:cubicBezTo>
                  <a:pt x="228" y="443"/>
                  <a:pt x="234" y="416"/>
                  <a:pt x="237" y="400"/>
                </a:cubicBezTo>
                <a:cubicBezTo>
                  <a:pt x="331" y="400"/>
                  <a:pt x="331" y="400"/>
                  <a:pt x="331" y="400"/>
                </a:cubicBezTo>
                <a:cubicBezTo>
                  <a:pt x="331" y="421"/>
                  <a:pt x="331" y="460"/>
                  <a:pt x="331" y="460"/>
                </a:cubicBezTo>
                <a:cubicBezTo>
                  <a:pt x="331" y="470"/>
                  <a:pt x="339" y="477"/>
                  <a:pt x="348" y="477"/>
                </a:cubicBezTo>
                <a:cubicBezTo>
                  <a:pt x="468" y="477"/>
                  <a:pt x="468" y="477"/>
                  <a:pt x="468" y="477"/>
                </a:cubicBezTo>
                <a:cubicBezTo>
                  <a:pt x="477" y="477"/>
                  <a:pt x="485" y="470"/>
                  <a:pt x="485" y="460"/>
                </a:cubicBezTo>
                <a:cubicBezTo>
                  <a:pt x="485" y="17"/>
                  <a:pt x="485" y="17"/>
                  <a:pt x="485" y="17"/>
                </a:cubicBezTo>
                <a:cubicBezTo>
                  <a:pt x="485" y="7"/>
                  <a:pt x="477" y="0"/>
                  <a:pt x="468" y="0"/>
                </a:cubicBezTo>
                <a:close/>
                <a:moveTo>
                  <a:pt x="207" y="380"/>
                </a:moveTo>
                <a:cubicBezTo>
                  <a:pt x="207" y="380"/>
                  <a:pt x="204" y="393"/>
                  <a:pt x="201" y="405"/>
                </a:cubicBezTo>
                <a:cubicBezTo>
                  <a:pt x="192" y="396"/>
                  <a:pt x="183" y="387"/>
                  <a:pt x="183" y="387"/>
                </a:cubicBezTo>
                <a:cubicBezTo>
                  <a:pt x="183" y="387"/>
                  <a:pt x="182" y="387"/>
                  <a:pt x="182" y="387"/>
                </a:cubicBezTo>
                <a:cubicBezTo>
                  <a:pt x="180" y="385"/>
                  <a:pt x="179" y="384"/>
                  <a:pt x="179" y="384"/>
                </a:cubicBezTo>
                <a:cubicBezTo>
                  <a:pt x="175" y="379"/>
                  <a:pt x="168" y="379"/>
                  <a:pt x="163" y="384"/>
                </a:cubicBezTo>
                <a:cubicBezTo>
                  <a:pt x="163" y="384"/>
                  <a:pt x="162" y="385"/>
                  <a:pt x="161" y="387"/>
                </a:cubicBezTo>
                <a:cubicBezTo>
                  <a:pt x="160" y="387"/>
                  <a:pt x="160" y="387"/>
                  <a:pt x="159" y="387"/>
                </a:cubicBezTo>
                <a:cubicBezTo>
                  <a:pt x="159" y="387"/>
                  <a:pt x="118" y="429"/>
                  <a:pt x="102" y="445"/>
                </a:cubicBezTo>
                <a:cubicBezTo>
                  <a:pt x="87" y="431"/>
                  <a:pt x="56" y="399"/>
                  <a:pt x="41" y="385"/>
                </a:cubicBezTo>
                <a:cubicBezTo>
                  <a:pt x="54" y="372"/>
                  <a:pt x="103" y="323"/>
                  <a:pt x="103" y="323"/>
                </a:cubicBezTo>
                <a:cubicBezTo>
                  <a:pt x="105" y="321"/>
                  <a:pt x="106" y="318"/>
                  <a:pt x="106" y="315"/>
                </a:cubicBezTo>
                <a:cubicBezTo>
                  <a:pt x="106" y="312"/>
                  <a:pt x="105" y="309"/>
                  <a:pt x="103" y="307"/>
                </a:cubicBezTo>
                <a:cubicBezTo>
                  <a:pt x="103" y="307"/>
                  <a:pt x="101" y="306"/>
                  <a:pt x="99" y="304"/>
                </a:cubicBezTo>
                <a:cubicBezTo>
                  <a:pt x="99" y="304"/>
                  <a:pt x="99" y="303"/>
                  <a:pt x="99" y="303"/>
                </a:cubicBezTo>
                <a:cubicBezTo>
                  <a:pt x="99" y="303"/>
                  <a:pt x="92" y="296"/>
                  <a:pt x="86" y="290"/>
                </a:cubicBezTo>
                <a:cubicBezTo>
                  <a:pt x="115" y="283"/>
                  <a:pt x="219" y="261"/>
                  <a:pt x="234" y="257"/>
                </a:cubicBezTo>
                <a:cubicBezTo>
                  <a:pt x="230" y="276"/>
                  <a:pt x="216" y="340"/>
                  <a:pt x="207" y="379"/>
                </a:cubicBezTo>
                <a:cubicBezTo>
                  <a:pt x="207" y="379"/>
                  <a:pt x="207" y="380"/>
                  <a:pt x="207" y="380"/>
                </a:cubicBezTo>
                <a:close/>
                <a:moveTo>
                  <a:pt x="451" y="444"/>
                </a:moveTo>
                <a:cubicBezTo>
                  <a:pt x="365" y="444"/>
                  <a:pt x="365" y="444"/>
                  <a:pt x="365" y="444"/>
                </a:cubicBezTo>
                <a:cubicBezTo>
                  <a:pt x="365" y="397"/>
                  <a:pt x="365" y="397"/>
                  <a:pt x="365" y="397"/>
                </a:cubicBezTo>
                <a:cubicBezTo>
                  <a:pt x="451" y="397"/>
                  <a:pt x="451" y="397"/>
                  <a:pt x="451" y="397"/>
                </a:cubicBezTo>
                <a:lnTo>
                  <a:pt x="451" y="444"/>
                </a:lnTo>
                <a:close/>
                <a:moveTo>
                  <a:pt x="104" y="106"/>
                </a:moveTo>
                <a:cubicBezTo>
                  <a:pt x="210" y="106"/>
                  <a:pt x="210" y="106"/>
                  <a:pt x="210" y="106"/>
                </a:cubicBezTo>
                <a:cubicBezTo>
                  <a:pt x="210" y="154"/>
                  <a:pt x="210" y="154"/>
                  <a:pt x="210" y="154"/>
                </a:cubicBezTo>
                <a:cubicBezTo>
                  <a:pt x="104" y="154"/>
                  <a:pt x="104" y="154"/>
                  <a:pt x="104" y="154"/>
                </a:cubicBezTo>
                <a:lnTo>
                  <a:pt x="104" y="106"/>
                </a:lnTo>
                <a:close/>
                <a:moveTo>
                  <a:pt x="233" y="106"/>
                </a:moveTo>
                <a:cubicBezTo>
                  <a:pt x="337" y="106"/>
                  <a:pt x="337" y="106"/>
                  <a:pt x="337" y="106"/>
                </a:cubicBezTo>
                <a:cubicBezTo>
                  <a:pt x="337" y="154"/>
                  <a:pt x="337" y="154"/>
                  <a:pt x="337" y="154"/>
                </a:cubicBezTo>
                <a:cubicBezTo>
                  <a:pt x="233" y="154"/>
                  <a:pt x="233" y="154"/>
                  <a:pt x="233" y="154"/>
                </a:cubicBezTo>
                <a:lnTo>
                  <a:pt x="233" y="106"/>
                </a:lnTo>
                <a:close/>
                <a:moveTo>
                  <a:pt x="359" y="106"/>
                </a:moveTo>
                <a:cubicBezTo>
                  <a:pt x="451" y="106"/>
                  <a:pt x="451" y="106"/>
                  <a:pt x="451" y="106"/>
                </a:cubicBezTo>
                <a:cubicBezTo>
                  <a:pt x="451" y="154"/>
                  <a:pt x="451" y="154"/>
                  <a:pt x="451" y="154"/>
                </a:cubicBezTo>
                <a:cubicBezTo>
                  <a:pt x="359" y="154"/>
                  <a:pt x="359" y="154"/>
                  <a:pt x="359" y="154"/>
                </a:cubicBezTo>
                <a:lnTo>
                  <a:pt x="359" y="106"/>
                </a:lnTo>
                <a:close/>
                <a:moveTo>
                  <a:pt x="451" y="83"/>
                </a:moveTo>
                <a:cubicBezTo>
                  <a:pt x="104" y="83"/>
                  <a:pt x="104" y="83"/>
                  <a:pt x="104" y="83"/>
                </a:cubicBezTo>
                <a:cubicBezTo>
                  <a:pt x="104" y="34"/>
                  <a:pt x="104" y="34"/>
                  <a:pt x="104" y="34"/>
                </a:cubicBezTo>
                <a:cubicBezTo>
                  <a:pt x="451" y="34"/>
                  <a:pt x="451" y="34"/>
                  <a:pt x="451" y="34"/>
                </a:cubicBezTo>
                <a:lnTo>
                  <a:pt x="451" y="83"/>
                </a:lnTo>
                <a:close/>
                <a:moveTo>
                  <a:pt x="104" y="176"/>
                </a:moveTo>
                <a:cubicBezTo>
                  <a:pt x="210" y="176"/>
                  <a:pt x="210" y="176"/>
                  <a:pt x="210" y="176"/>
                </a:cubicBezTo>
                <a:cubicBezTo>
                  <a:pt x="210" y="224"/>
                  <a:pt x="210" y="224"/>
                  <a:pt x="210" y="224"/>
                </a:cubicBezTo>
                <a:cubicBezTo>
                  <a:pt x="104" y="224"/>
                  <a:pt x="104" y="224"/>
                  <a:pt x="104" y="224"/>
                </a:cubicBezTo>
                <a:lnTo>
                  <a:pt x="104" y="176"/>
                </a:lnTo>
                <a:close/>
                <a:moveTo>
                  <a:pt x="233" y="224"/>
                </a:moveTo>
                <a:cubicBezTo>
                  <a:pt x="233" y="176"/>
                  <a:pt x="233" y="176"/>
                  <a:pt x="233" y="176"/>
                </a:cubicBezTo>
                <a:cubicBezTo>
                  <a:pt x="337" y="176"/>
                  <a:pt x="337" y="176"/>
                  <a:pt x="337" y="176"/>
                </a:cubicBezTo>
                <a:cubicBezTo>
                  <a:pt x="337" y="224"/>
                  <a:pt x="337" y="224"/>
                  <a:pt x="337" y="224"/>
                </a:cubicBezTo>
                <a:lnTo>
                  <a:pt x="233" y="224"/>
                </a:lnTo>
                <a:close/>
                <a:moveTo>
                  <a:pt x="359" y="176"/>
                </a:moveTo>
                <a:cubicBezTo>
                  <a:pt x="451" y="176"/>
                  <a:pt x="451" y="176"/>
                  <a:pt x="451" y="176"/>
                </a:cubicBezTo>
                <a:cubicBezTo>
                  <a:pt x="451" y="224"/>
                  <a:pt x="451" y="224"/>
                  <a:pt x="451" y="224"/>
                </a:cubicBezTo>
                <a:cubicBezTo>
                  <a:pt x="359" y="224"/>
                  <a:pt x="359" y="224"/>
                  <a:pt x="359" y="224"/>
                </a:cubicBezTo>
                <a:lnTo>
                  <a:pt x="359" y="176"/>
                </a:lnTo>
                <a:close/>
                <a:moveTo>
                  <a:pt x="451" y="247"/>
                </a:moveTo>
                <a:cubicBezTo>
                  <a:pt x="451" y="292"/>
                  <a:pt x="451" y="292"/>
                  <a:pt x="451" y="292"/>
                </a:cubicBezTo>
                <a:cubicBezTo>
                  <a:pt x="359" y="292"/>
                  <a:pt x="359" y="292"/>
                  <a:pt x="359" y="292"/>
                </a:cubicBezTo>
                <a:cubicBezTo>
                  <a:pt x="359" y="247"/>
                  <a:pt x="359" y="247"/>
                  <a:pt x="359" y="247"/>
                </a:cubicBezTo>
                <a:lnTo>
                  <a:pt x="451" y="247"/>
                </a:lnTo>
                <a:close/>
                <a:moveTo>
                  <a:pt x="104" y="247"/>
                </a:moveTo>
                <a:cubicBezTo>
                  <a:pt x="178" y="247"/>
                  <a:pt x="178" y="247"/>
                  <a:pt x="178" y="247"/>
                </a:cubicBezTo>
                <a:cubicBezTo>
                  <a:pt x="104" y="263"/>
                  <a:pt x="104" y="263"/>
                  <a:pt x="104" y="263"/>
                </a:cubicBezTo>
                <a:lnTo>
                  <a:pt x="104" y="247"/>
                </a:lnTo>
                <a:close/>
                <a:moveTo>
                  <a:pt x="259" y="247"/>
                </a:moveTo>
                <a:cubicBezTo>
                  <a:pt x="337" y="247"/>
                  <a:pt x="337" y="247"/>
                  <a:pt x="337" y="247"/>
                </a:cubicBezTo>
                <a:cubicBezTo>
                  <a:pt x="337" y="292"/>
                  <a:pt x="337" y="292"/>
                  <a:pt x="337" y="292"/>
                </a:cubicBezTo>
                <a:cubicBezTo>
                  <a:pt x="250" y="292"/>
                  <a:pt x="250" y="292"/>
                  <a:pt x="250" y="292"/>
                </a:cubicBezTo>
                <a:lnTo>
                  <a:pt x="259" y="247"/>
                </a:lnTo>
                <a:close/>
                <a:moveTo>
                  <a:pt x="451" y="320"/>
                </a:moveTo>
                <a:cubicBezTo>
                  <a:pt x="451" y="369"/>
                  <a:pt x="451" y="369"/>
                  <a:pt x="451" y="369"/>
                </a:cubicBezTo>
                <a:cubicBezTo>
                  <a:pt x="359" y="369"/>
                  <a:pt x="359" y="369"/>
                  <a:pt x="359" y="369"/>
                </a:cubicBezTo>
                <a:cubicBezTo>
                  <a:pt x="359" y="320"/>
                  <a:pt x="359" y="320"/>
                  <a:pt x="359" y="320"/>
                </a:cubicBezTo>
                <a:lnTo>
                  <a:pt x="451" y="320"/>
                </a:lnTo>
                <a:close/>
                <a:moveTo>
                  <a:pt x="233" y="366"/>
                </a:moveTo>
                <a:cubicBezTo>
                  <a:pt x="243" y="320"/>
                  <a:pt x="243" y="320"/>
                  <a:pt x="243" y="320"/>
                </a:cubicBezTo>
                <a:cubicBezTo>
                  <a:pt x="337" y="320"/>
                  <a:pt x="337" y="320"/>
                  <a:pt x="337" y="320"/>
                </a:cubicBezTo>
                <a:cubicBezTo>
                  <a:pt x="337" y="366"/>
                  <a:pt x="337" y="366"/>
                  <a:pt x="337" y="366"/>
                </a:cubicBezTo>
                <a:lnTo>
                  <a:pt x="233" y="366"/>
                </a:lnTo>
                <a:close/>
              </a:path>
            </a:pathLst>
          </a:custGeom>
          <a:solidFill>
            <a:schemeClr val="accent1"/>
          </a:solidFill>
          <a:ln>
            <a:noFill/>
          </a:ln>
          <a:extLst/>
        </p:spPr>
        <p:txBody>
          <a:bodyPr vert="horz" wrap="square" lIns="93248" tIns="46624" rIns="93248" bIns="46624" numCol="1" anchor="t" anchorCtr="0" compatLnSpc="1">
            <a:prstTxWarp prst="textNoShape">
              <a:avLst/>
            </a:prstTxWarp>
          </a:bodyPr>
          <a:lstStyle/>
          <a:p>
            <a:pPr defTabSz="932504">
              <a:defRPr/>
            </a:pPr>
            <a:endParaRPr lang="en-US" sz="1836">
              <a:solidFill>
                <a:srgbClr val="2F2F2F"/>
              </a:solidFill>
              <a:latin typeface="Segoe UI"/>
            </a:endParaRPr>
          </a:p>
        </p:txBody>
      </p:sp>
      <p:sp>
        <p:nvSpPr>
          <p:cNvPr id="15" name="Freeform 159"/>
          <p:cNvSpPr>
            <a:spLocks noEditPoints="1"/>
          </p:cNvSpPr>
          <p:nvPr/>
        </p:nvSpPr>
        <p:spPr bwMode="auto">
          <a:xfrm>
            <a:off x="5973510" y="2794934"/>
            <a:ext cx="483510" cy="727494"/>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accent1"/>
          </a:solidFill>
          <a:ln>
            <a:noFill/>
          </a:ln>
          <a:extLst/>
        </p:spPr>
        <p:txBody>
          <a:bodyPr vert="horz" wrap="square" lIns="93248" tIns="46624" rIns="93248" bIns="46624" numCol="1" anchor="t" anchorCtr="0" compatLnSpc="1">
            <a:prstTxWarp prst="textNoShape">
              <a:avLst/>
            </a:prstTxWarp>
          </a:bodyPr>
          <a:lstStyle/>
          <a:p>
            <a:pPr defTabSz="932504">
              <a:defRPr/>
            </a:pPr>
            <a:endParaRPr lang="en-US" sz="1836">
              <a:solidFill>
                <a:srgbClr val="2F2F2F"/>
              </a:solidFill>
              <a:latin typeface="Segoe UI"/>
            </a:endParaRPr>
          </a:p>
        </p:txBody>
      </p:sp>
      <p:sp>
        <p:nvSpPr>
          <p:cNvPr id="17" name="Freeform 80"/>
          <p:cNvSpPr>
            <a:spLocks noEditPoints="1"/>
          </p:cNvSpPr>
          <p:nvPr/>
        </p:nvSpPr>
        <p:spPr bwMode="auto">
          <a:xfrm>
            <a:off x="3484187" y="2840748"/>
            <a:ext cx="523982" cy="635864"/>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accent1"/>
          </a:solidFill>
          <a:ln>
            <a:noFill/>
          </a:ln>
        </p:spPr>
        <p:txBody>
          <a:bodyPr vert="horz" wrap="square" lIns="93248" tIns="46624" rIns="93248" bIns="46624" numCol="1" anchor="t" anchorCtr="0" compatLnSpc="1">
            <a:prstTxWarp prst="textNoShape">
              <a:avLst/>
            </a:prstTxWarp>
          </a:bodyPr>
          <a:lstStyle/>
          <a:p>
            <a:pPr defTabSz="932504">
              <a:defRPr/>
            </a:pPr>
            <a:endParaRPr lang="en-US" sz="1836">
              <a:solidFill>
                <a:srgbClr val="2F2F2F"/>
              </a:solidFill>
              <a:latin typeface="Segoe UI"/>
            </a:endParaRPr>
          </a:p>
        </p:txBody>
      </p:sp>
      <p:sp>
        <p:nvSpPr>
          <p:cNvPr id="18" name="TextBox 17"/>
          <p:cNvSpPr txBox="1"/>
          <p:nvPr/>
        </p:nvSpPr>
        <p:spPr>
          <a:xfrm flipH="1">
            <a:off x="-70572" y="5105786"/>
            <a:ext cx="2695325" cy="704623"/>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1428">
                <a:solidFill>
                  <a:srgbClr val="0078D7"/>
                </a:solidFill>
                <a:latin typeface="Segoe UI"/>
              </a:rPr>
              <a:t>1- and 3-year term </a:t>
            </a:r>
            <a:br>
              <a:rPr lang="en-US" sz="1428">
                <a:solidFill>
                  <a:srgbClr val="0078D7"/>
                </a:solidFill>
                <a:latin typeface="Segoe UI"/>
              </a:rPr>
            </a:br>
            <a:r>
              <a:rPr lang="en-US" sz="1428">
                <a:solidFill>
                  <a:srgbClr val="0078D7"/>
                </a:solidFill>
                <a:latin typeface="Segoe UI"/>
              </a:rPr>
              <a:t>options</a:t>
            </a:r>
          </a:p>
        </p:txBody>
      </p:sp>
      <p:sp>
        <p:nvSpPr>
          <p:cNvPr id="19" name="TextBox 18"/>
          <p:cNvSpPr txBox="1"/>
          <p:nvPr/>
        </p:nvSpPr>
        <p:spPr>
          <a:xfrm flipH="1">
            <a:off x="2393524" y="5105786"/>
            <a:ext cx="2695325" cy="499043"/>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1428">
                <a:solidFill>
                  <a:srgbClr val="0078D7"/>
                </a:solidFill>
                <a:latin typeface="Segoe UI"/>
              </a:rPr>
              <a:t>Global datacenters</a:t>
            </a:r>
          </a:p>
        </p:txBody>
      </p:sp>
      <p:sp>
        <p:nvSpPr>
          <p:cNvPr id="20" name="TextBox 19"/>
          <p:cNvSpPr txBox="1"/>
          <p:nvPr/>
        </p:nvSpPr>
        <p:spPr>
          <a:xfrm flipH="1">
            <a:off x="4842541" y="5105786"/>
            <a:ext cx="2730734" cy="704623"/>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1428">
                <a:solidFill>
                  <a:srgbClr val="0078D7"/>
                </a:solidFill>
                <a:latin typeface="Segoe UI"/>
              </a:rPr>
              <a:t>Select region, VM size, and term</a:t>
            </a:r>
          </a:p>
        </p:txBody>
      </p:sp>
      <p:sp>
        <p:nvSpPr>
          <p:cNvPr id="21" name="TextBox 20"/>
          <p:cNvSpPr txBox="1"/>
          <p:nvPr/>
        </p:nvSpPr>
        <p:spPr>
          <a:xfrm flipH="1">
            <a:off x="9811399" y="5105786"/>
            <a:ext cx="2695325" cy="704623"/>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1428">
                <a:solidFill>
                  <a:srgbClr val="0078D7"/>
                </a:solidFill>
                <a:latin typeface="Segoe UI"/>
              </a:rPr>
              <a:t>Exchange or cancel reservations</a:t>
            </a:r>
          </a:p>
        </p:txBody>
      </p:sp>
      <p:sp>
        <p:nvSpPr>
          <p:cNvPr id="3" name="TextBox 18"/>
          <p:cNvSpPr txBox="1"/>
          <p:nvPr/>
        </p:nvSpPr>
        <p:spPr>
          <a:xfrm flipH="1">
            <a:off x="7326971" y="4126531"/>
            <a:ext cx="2695325" cy="992855"/>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2448">
                <a:gradFill>
                  <a:gsLst>
                    <a:gs pos="2917">
                      <a:srgbClr val="2F2F2F"/>
                    </a:gs>
                    <a:gs pos="30000">
                      <a:srgbClr val="2F2F2F"/>
                    </a:gs>
                  </a:gsLst>
                  <a:lin ang="5400000" scaled="0"/>
                </a:gradFill>
                <a:latin typeface="Segoe UI Light"/>
              </a:rPr>
              <a:t>Assignment control</a:t>
            </a:r>
          </a:p>
        </p:txBody>
      </p:sp>
      <p:sp>
        <p:nvSpPr>
          <p:cNvPr id="13" name="Freeform 21"/>
          <p:cNvSpPr>
            <a:spLocks noEditPoints="1"/>
          </p:cNvSpPr>
          <p:nvPr/>
        </p:nvSpPr>
        <p:spPr bwMode="auto">
          <a:xfrm>
            <a:off x="10842614" y="2874537"/>
            <a:ext cx="621656" cy="621656"/>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1"/>
          </a:solidFill>
          <a:ln>
            <a:noFill/>
          </a:ln>
          <a:extLst/>
        </p:spPr>
        <p:txBody>
          <a:bodyPr vert="horz" wrap="square" lIns="93248" tIns="46624" rIns="93248" bIns="46624" numCol="1" anchor="t" anchorCtr="0" compatLnSpc="1">
            <a:prstTxWarp prst="textNoShape">
              <a:avLst/>
            </a:prstTxWarp>
          </a:bodyPr>
          <a:lstStyle/>
          <a:p>
            <a:pPr defTabSz="932504">
              <a:defRPr/>
            </a:pPr>
            <a:endParaRPr lang="en-US" sz="1836">
              <a:solidFill>
                <a:srgbClr val="2F2F2F"/>
              </a:solidFill>
              <a:latin typeface="Segoe UI"/>
            </a:endParaRPr>
          </a:p>
        </p:txBody>
      </p:sp>
      <p:sp>
        <p:nvSpPr>
          <p:cNvPr id="22" name="TextBox 21"/>
          <p:cNvSpPr txBox="1"/>
          <p:nvPr/>
        </p:nvSpPr>
        <p:spPr>
          <a:xfrm flipH="1">
            <a:off x="7326971" y="5105786"/>
            <a:ext cx="2695325" cy="704623"/>
          </a:xfrm>
          <a:prstGeom prst="rect">
            <a:avLst/>
          </a:prstGeom>
          <a:noFill/>
        </p:spPr>
        <p:txBody>
          <a:bodyPr wrap="square" lIns="186497" tIns="149198" rIns="186497" bIns="149198" rtlCol="0">
            <a:spAutoFit/>
          </a:bodyPr>
          <a:lstStyle/>
          <a:p>
            <a:pPr algn="ctr" defTabSz="932504">
              <a:lnSpc>
                <a:spcPct val="90000"/>
              </a:lnSpc>
              <a:spcAft>
                <a:spcPts val="612"/>
              </a:spcAft>
              <a:defRPr/>
            </a:pPr>
            <a:r>
              <a:rPr lang="en-US" sz="1428">
                <a:solidFill>
                  <a:srgbClr val="0078D7"/>
                </a:solidFill>
                <a:latin typeface="Segoe UI"/>
              </a:rPr>
              <a:t>Scope reservation either to enrollment or subscription</a:t>
            </a:r>
          </a:p>
        </p:txBody>
      </p:sp>
      <p:sp>
        <p:nvSpPr>
          <p:cNvPr id="23" name="Freeform 139"/>
          <p:cNvSpPr>
            <a:spLocks/>
          </p:cNvSpPr>
          <p:nvPr/>
        </p:nvSpPr>
        <p:spPr bwMode="black">
          <a:xfrm>
            <a:off x="8396762" y="2900772"/>
            <a:ext cx="575183" cy="575183"/>
          </a:xfrm>
          <a:custGeom>
            <a:avLst/>
            <a:gdLst>
              <a:gd name="T0" fmla="*/ 63 w 75"/>
              <a:gd name="T1" fmla="*/ 29 h 75"/>
              <a:gd name="T2" fmla="*/ 44 w 75"/>
              <a:gd name="T3" fmla="*/ 48 h 75"/>
              <a:gd name="T4" fmla="*/ 40 w 75"/>
              <a:gd name="T5" fmla="*/ 68 h 75"/>
              <a:gd name="T6" fmla="*/ 26 w 75"/>
              <a:gd name="T7" fmla="*/ 54 h 75"/>
              <a:gd name="T8" fmla="*/ 0 w 75"/>
              <a:gd name="T9" fmla="*/ 74 h 75"/>
              <a:gd name="T10" fmla="*/ 0 w 75"/>
              <a:gd name="T11" fmla="*/ 74 h 75"/>
              <a:gd name="T12" fmla="*/ 0 w 75"/>
              <a:gd name="T13" fmla="*/ 74 h 75"/>
              <a:gd name="T14" fmla="*/ 0 w 75"/>
              <a:gd name="T15" fmla="*/ 74 h 75"/>
              <a:gd name="T16" fmla="*/ 0 w 75"/>
              <a:gd name="T17" fmla="*/ 74 h 75"/>
              <a:gd name="T18" fmla="*/ 20 w 75"/>
              <a:gd name="T19" fmla="*/ 49 h 75"/>
              <a:gd name="T20" fmla="*/ 6 w 75"/>
              <a:gd name="T21" fmla="*/ 35 h 75"/>
              <a:gd name="T22" fmla="*/ 27 w 75"/>
              <a:gd name="T23" fmla="*/ 31 h 75"/>
              <a:gd name="T24" fmla="*/ 46 w 75"/>
              <a:gd name="T25" fmla="*/ 11 h 75"/>
              <a:gd name="T26" fmla="*/ 50 w 75"/>
              <a:gd name="T27" fmla="*/ 0 h 75"/>
              <a:gd name="T28" fmla="*/ 75 w 75"/>
              <a:gd name="T29" fmla="*/ 25 h 75"/>
              <a:gd name="T30" fmla="*/ 63 w 75"/>
              <a:gd name="T31"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5">
                <a:moveTo>
                  <a:pt x="63" y="29"/>
                </a:moveTo>
                <a:cubicBezTo>
                  <a:pt x="44" y="48"/>
                  <a:pt x="44" y="48"/>
                  <a:pt x="44" y="48"/>
                </a:cubicBezTo>
                <a:cubicBezTo>
                  <a:pt x="47" y="55"/>
                  <a:pt x="46" y="63"/>
                  <a:pt x="40" y="68"/>
                </a:cubicBezTo>
                <a:cubicBezTo>
                  <a:pt x="26" y="54"/>
                  <a:pt x="26" y="54"/>
                  <a:pt x="26" y="54"/>
                </a:cubicBezTo>
                <a:cubicBezTo>
                  <a:pt x="11" y="67"/>
                  <a:pt x="2" y="75"/>
                  <a:pt x="0" y="74"/>
                </a:cubicBezTo>
                <a:cubicBezTo>
                  <a:pt x="0" y="74"/>
                  <a:pt x="0" y="74"/>
                  <a:pt x="0" y="74"/>
                </a:cubicBezTo>
                <a:cubicBezTo>
                  <a:pt x="0" y="74"/>
                  <a:pt x="0" y="74"/>
                  <a:pt x="0" y="74"/>
                </a:cubicBezTo>
                <a:cubicBezTo>
                  <a:pt x="0" y="74"/>
                  <a:pt x="0" y="74"/>
                  <a:pt x="0" y="74"/>
                </a:cubicBezTo>
                <a:cubicBezTo>
                  <a:pt x="0" y="74"/>
                  <a:pt x="0" y="74"/>
                  <a:pt x="0" y="74"/>
                </a:cubicBezTo>
                <a:cubicBezTo>
                  <a:pt x="0" y="73"/>
                  <a:pt x="7" y="63"/>
                  <a:pt x="20" y="49"/>
                </a:cubicBezTo>
                <a:cubicBezTo>
                  <a:pt x="6" y="35"/>
                  <a:pt x="6" y="35"/>
                  <a:pt x="6" y="35"/>
                </a:cubicBezTo>
                <a:cubicBezTo>
                  <a:pt x="12" y="29"/>
                  <a:pt x="20" y="28"/>
                  <a:pt x="27" y="31"/>
                </a:cubicBezTo>
                <a:cubicBezTo>
                  <a:pt x="46" y="11"/>
                  <a:pt x="46" y="11"/>
                  <a:pt x="46" y="11"/>
                </a:cubicBezTo>
                <a:cubicBezTo>
                  <a:pt x="45" y="7"/>
                  <a:pt x="46" y="3"/>
                  <a:pt x="50" y="0"/>
                </a:cubicBezTo>
                <a:cubicBezTo>
                  <a:pt x="75" y="25"/>
                  <a:pt x="75" y="25"/>
                  <a:pt x="75" y="25"/>
                </a:cubicBezTo>
                <a:cubicBezTo>
                  <a:pt x="72" y="28"/>
                  <a:pt x="67" y="30"/>
                  <a:pt x="63" y="29"/>
                </a:cubicBezTo>
                <a:close/>
              </a:path>
            </a:pathLst>
          </a:custGeom>
          <a:solidFill>
            <a:schemeClr val="accent1"/>
          </a:solidFill>
          <a:ln>
            <a:noFill/>
          </a:ln>
          <a:extLst/>
        </p:spPr>
        <p:txBody>
          <a:bodyPr vert="horz" wrap="square" lIns="93248" tIns="46624" rIns="93248" bIns="46624" numCol="1" anchor="t" anchorCtr="0" compatLnSpc="1">
            <a:prstTxWarp prst="textNoShape">
              <a:avLst/>
            </a:prstTxWarp>
          </a:bodyPr>
          <a:lstStyle/>
          <a:p>
            <a:pPr defTabSz="932504">
              <a:defRPr/>
            </a:pPr>
            <a:endParaRPr lang="en-US" sz="1836">
              <a:solidFill>
                <a:srgbClr val="2F2F2F"/>
              </a:solidFill>
              <a:latin typeface="Segoe UI"/>
            </a:endParaRPr>
          </a:p>
        </p:txBody>
      </p:sp>
    </p:spTree>
    <p:extLst>
      <p:ext uri="{BB962C8B-B14F-4D97-AF65-F5344CB8AC3E}">
        <p14:creationId xmlns:p14="http://schemas.microsoft.com/office/powerpoint/2010/main" val="150212392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406391029"/>
              </p:ext>
            </p:extLst>
          </p:nvPr>
        </p:nvGraphicFramePr>
        <p:xfrm>
          <a:off x="426244" y="2110837"/>
          <a:ext cx="11642476" cy="44831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1"/>
          <p:cNvSpPr txBox="1">
            <a:spLocks/>
          </p:cNvSpPr>
          <p:nvPr/>
        </p:nvSpPr>
        <p:spPr>
          <a:xfrm>
            <a:off x="366168" y="1212851"/>
            <a:ext cx="11702552" cy="1217611"/>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a:solidFill>
                  <a:schemeClr val="accent1"/>
                </a:solidFill>
              </a:rPr>
              <a:t>There are two models for network configurations for Azure VMs: Cloud-only and cloud-premises </a:t>
            </a:r>
            <a:r>
              <a:rPr lang="en-US" err="1">
                <a:solidFill>
                  <a:schemeClr val="accent1"/>
                </a:solidFill>
              </a:rPr>
              <a:t>VNet</a:t>
            </a:r>
            <a:r>
              <a:rPr lang="en-US">
                <a:solidFill>
                  <a:schemeClr val="accent1"/>
                </a:solidFill>
              </a:rPr>
              <a:t> configurations.</a:t>
            </a:r>
          </a:p>
        </p:txBody>
      </p:sp>
      <p:sp>
        <p:nvSpPr>
          <p:cNvPr id="6"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IaaS network considerations</a:t>
            </a:r>
          </a:p>
        </p:txBody>
      </p:sp>
    </p:spTree>
    <p:extLst>
      <p:ext uri="{BB962C8B-B14F-4D97-AF65-F5344CB8AC3E}">
        <p14:creationId xmlns:p14="http://schemas.microsoft.com/office/powerpoint/2010/main" val="340618182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4" name="Title 3"/>
          <p:cNvSpPr txBox="1">
            <a:spLocks/>
          </p:cNvSpPr>
          <p:nvPr/>
        </p:nvSpPr>
        <p:spPr>
          <a:xfrm>
            <a:off x="366169" y="2659062"/>
            <a:ext cx="11690437" cy="1098762"/>
          </a:xfrm>
          <a:prstGeom prst="rect">
            <a:avLst/>
          </a:prstGeom>
          <a:noFill/>
        </p:spPr>
        <p:txBody>
          <a:bodyPr vert="horz" wrap="square" lIns="146304" tIns="91440" rIns="146304" bIns="91440" rtlCol="0" anchor="t" anchorCtr="0">
            <a:spAutoFit/>
          </a:bodyPr>
          <a:lstStyle>
            <a:lvl1pPr algn="l" defTabSz="932649" rtl="0" eaLnBrk="1" latinLnBrk="0" hangingPunct="1">
              <a:lnSpc>
                <a:spcPct val="90000"/>
              </a:lnSpc>
              <a:spcBef>
                <a:spcPct val="0"/>
              </a:spcBef>
              <a:buNone/>
              <a:defRPr lang="en-US" sz="7199"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lvl="0"/>
            <a:r>
              <a:rPr lang="en-CA" sz="6600" dirty="0">
                <a:gradFill>
                  <a:gsLst>
                    <a:gs pos="100000">
                      <a:srgbClr val="FFFFFF"/>
                    </a:gs>
                    <a:gs pos="0">
                      <a:srgbClr val="FFFFFF"/>
                    </a:gs>
                  </a:gsLst>
                  <a:lin ang="5400000" scaled="0"/>
                </a:gradFill>
              </a:rPr>
              <a:t>Azure Resource Manager Review</a:t>
            </a:r>
            <a:endParaRPr kumimoji="0" lang="en-CA" sz="7199"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FBF3379D-CEB3-49E8-B823-EF15BB9E110B}"/>
              </a:ext>
            </a:extLst>
          </p:cNvPr>
          <p:cNvSpPr txBox="1"/>
          <p:nvPr/>
        </p:nvSpPr>
        <p:spPr>
          <a:xfrm>
            <a:off x="2572031" y="3738684"/>
            <a:ext cx="614404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is was covered in the Subscription SAW</a:t>
            </a:r>
          </a:p>
        </p:txBody>
      </p:sp>
      <p:grpSp>
        <p:nvGrpSpPr>
          <p:cNvPr id="3" name="Group 2">
            <a:extLst>
              <a:ext uri="{FF2B5EF4-FFF2-40B4-BE49-F238E27FC236}">
                <a16:creationId xmlns:a16="http://schemas.microsoft.com/office/drawing/2014/main" id="{FD74BCA5-55EB-479D-BDF6-FC1555192819}"/>
              </a:ext>
            </a:extLst>
          </p:cNvPr>
          <p:cNvGrpSpPr/>
          <p:nvPr/>
        </p:nvGrpSpPr>
        <p:grpSpPr>
          <a:xfrm>
            <a:off x="4277219" y="4472903"/>
            <a:ext cx="2471749" cy="2263598"/>
            <a:chOff x="3745695" y="3441442"/>
            <a:chExt cx="3626450" cy="3222988"/>
          </a:xfrm>
        </p:grpSpPr>
        <p:sp>
          <p:nvSpPr>
            <p:cNvPr id="5" name="Freeform 7">
              <a:extLst>
                <a:ext uri="{FF2B5EF4-FFF2-40B4-BE49-F238E27FC236}">
                  <a16:creationId xmlns:a16="http://schemas.microsoft.com/office/drawing/2014/main" id="{DBEBEB45-64EF-48CF-992C-35DBDEA30D00}"/>
                </a:ext>
              </a:extLst>
            </p:cNvPr>
            <p:cNvSpPr>
              <a:spLocks/>
            </p:cNvSpPr>
            <p:nvPr/>
          </p:nvSpPr>
          <p:spPr bwMode="auto">
            <a:xfrm>
              <a:off x="4125609" y="3639248"/>
              <a:ext cx="3026752" cy="3025182"/>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 name="Freeform 8">
              <a:extLst>
                <a:ext uri="{FF2B5EF4-FFF2-40B4-BE49-F238E27FC236}">
                  <a16:creationId xmlns:a16="http://schemas.microsoft.com/office/drawing/2014/main" id="{2CB4F280-BCBE-4B53-A58F-01C7F17B8633}"/>
                </a:ext>
              </a:extLst>
            </p:cNvPr>
            <p:cNvSpPr>
              <a:spLocks/>
            </p:cNvSpPr>
            <p:nvPr/>
          </p:nvSpPr>
          <p:spPr bwMode="auto">
            <a:xfrm>
              <a:off x="5637415" y="3589011"/>
              <a:ext cx="125591" cy="139720"/>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 name="Freeform 9">
              <a:extLst>
                <a:ext uri="{FF2B5EF4-FFF2-40B4-BE49-F238E27FC236}">
                  <a16:creationId xmlns:a16="http://schemas.microsoft.com/office/drawing/2014/main" id="{2BBBD9EF-B144-4453-BA49-1C7064AC5C7A}"/>
                </a:ext>
              </a:extLst>
            </p:cNvPr>
            <p:cNvSpPr>
              <a:spLocks/>
            </p:cNvSpPr>
            <p:nvPr/>
          </p:nvSpPr>
          <p:spPr bwMode="auto">
            <a:xfrm>
              <a:off x="4131888" y="4643979"/>
              <a:ext cx="147570" cy="146000"/>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 name="Freeform 10">
              <a:extLst>
                <a:ext uri="{FF2B5EF4-FFF2-40B4-BE49-F238E27FC236}">
                  <a16:creationId xmlns:a16="http://schemas.microsoft.com/office/drawing/2014/main" id="{33165524-DD23-4085-BD84-AF21973FAE28}"/>
                </a:ext>
              </a:extLst>
            </p:cNvPr>
            <p:cNvSpPr>
              <a:spLocks/>
            </p:cNvSpPr>
            <p:nvPr/>
          </p:nvSpPr>
          <p:spPr bwMode="auto">
            <a:xfrm>
              <a:off x="3745695" y="3441442"/>
              <a:ext cx="1293591" cy="1142881"/>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 name="Freeform 11">
              <a:extLst>
                <a:ext uri="{FF2B5EF4-FFF2-40B4-BE49-F238E27FC236}">
                  <a16:creationId xmlns:a16="http://schemas.microsoft.com/office/drawing/2014/main" id="{075F7463-76ED-4027-8266-835461B4B224}"/>
                </a:ext>
              </a:extLst>
            </p:cNvPr>
            <p:cNvSpPr>
              <a:spLocks/>
            </p:cNvSpPr>
            <p:nvPr/>
          </p:nvSpPr>
          <p:spPr bwMode="auto">
            <a:xfrm>
              <a:off x="3745695" y="3441442"/>
              <a:ext cx="1293591" cy="1142881"/>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 name="Freeform 12">
              <a:extLst>
                <a:ext uri="{FF2B5EF4-FFF2-40B4-BE49-F238E27FC236}">
                  <a16:creationId xmlns:a16="http://schemas.microsoft.com/office/drawing/2014/main" id="{D6683CCC-028E-4390-8074-1487625DB9CF}"/>
                </a:ext>
              </a:extLst>
            </p:cNvPr>
            <p:cNvSpPr>
              <a:spLocks/>
            </p:cNvSpPr>
            <p:nvPr/>
          </p:nvSpPr>
          <p:spPr bwMode="auto">
            <a:xfrm>
              <a:off x="3902684" y="3612560"/>
              <a:ext cx="155419" cy="41131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1" name="Freeform 13">
              <a:extLst>
                <a:ext uri="{FF2B5EF4-FFF2-40B4-BE49-F238E27FC236}">
                  <a16:creationId xmlns:a16="http://schemas.microsoft.com/office/drawing/2014/main" id="{3EA3D89C-1515-4B2F-AA5F-34D95DC54A0E}"/>
                </a:ext>
              </a:extLst>
            </p:cNvPr>
            <p:cNvSpPr>
              <a:spLocks/>
            </p:cNvSpPr>
            <p:nvPr/>
          </p:nvSpPr>
          <p:spPr bwMode="auto">
            <a:xfrm>
              <a:off x="4095781" y="4042710"/>
              <a:ext cx="769247" cy="381484"/>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2" name="Freeform 14">
              <a:extLst>
                <a:ext uri="{FF2B5EF4-FFF2-40B4-BE49-F238E27FC236}">
                  <a16:creationId xmlns:a16="http://schemas.microsoft.com/office/drawing/2014/main" id="{2CB6E239-B9E5-4BB9-9613-C1725AB6FF3C}"/>
                </a:ext>
              </a:extLst>
            </p:cNvPr>
            <p:cNvSpPr>
              <a:spLocks/>
            </p:cNvSpPr>
            <p:nvPr/>
          </p:nvSpPr>
          <p:spPr bwMode="auto">
            <a:xfrm>
              <a:off x="4401910" y="3753850"/>
              <a:ext cx="546322" cy="45840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3" name="Freeform 15">
              <a:extLst>
                <a:ext uri="{FF2B5EF4-FFF2-40B4-BE49-F238E27FC236}">
                  <a16:creationId xmlns:a16="http://schemas.microsoft.com/office/drawing/2014/main" id="{4DAEFD9D-AE02-4BD3-9287-7AE026C8E9D9}"/>
                </a:ext>
              </a:extLst>
            </p:cNvPr>
            <p:cNvSpPr>
              <a:spLocks/>
            </p:cNvSpPr>
            <p:nvPr/>
          </p:nvSpPr>
          <p:spPr bwMode="auto">
            <a:xfrm>
              <a:off x="4139738" y="3466560"/>
              <a:ext cx="235484" cy="227634"/>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4" name="Freeform 16">
              <a:extLst>
                <a:ext uri="{FF2B5EF4-FFF2-40B4-BE49-F238E27FC236}">
                  <a16:creationId xmlns:a16="http://schemas.microsoft.com/office/drawing/2014/main" id="{43203A42-0161-4410-BB21-06DF3D56C819}"/>
                </a:ext>
              </a:extLst>
            </p:cNvPr>
            <p:cNvSpPr>
              <a:spLocks/>
            </p:cNvSpPr>
            <p:nvPr/>
          </p:nvSpPr>
          <p:spPr bwMode="auto">
            <a:xfrm>
              <a:off x="3923093" y="4023871"/>
              <a:ext cx="172688" cy="434860"/>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5" name="Freeform 17">
              <a:extLst>
                <a:ext uri="{FF2B5EF4-FFF2-40B4-BE49-F238E27FC236}">
                  <a16:creationId xmlns:a16="http://schemas.microsoft.com/office/drawing/2014/main" id="{C93BC507-C208-40DC-BEA8-A50EDFCCDF39}"/>
                </a:ext>
              </a:extLst>
            </p:cNvPr>
            <p:cNvSpPr>
              <a:spLocks/>
            </p:cNvSpPr>
            <p:nvPr/>
          </p:nvSpPr>
          <p:spPr bwMode="auto">
            <a:xfrm>
              <a:off x="4001587" y="3694194"/>
              <a:ext cx="400322" cy="43800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6" name="Freeform 18">
              <a:extLst>
                <a:ext uri="{FF2B5EF4-FFF2-40B4-BE49-F238E27FC236}">
                  <a16:creationId xmlns:a16="http://schemas.microsoft.com/office/drawing/2014/main" id="{D8A60342-94D9-445A-8C41-0FBD75148EC5}"/>
                </a:ext>
              </a:extLst>
            </p:cNvPr>
            <p:cNvSpPr>
              <a:spLocks/>
            </p:cNvSpPr>
            <p:nvPr/>
          </p:nvSpPr>
          <p:spPr bwMode="auto">
            <a:xfrm>
              <a:off x="4293587" y="3559183"/>
              <a:ext cx="546322" cy="241763"/>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7" name="Freeform 19">
              <a:extLst>
                <a:ext uri="{FF2B5EF4-FFF2-40B4-BE49-F238E27FC236}">
                  <a16:creationId xmlns:a16="http://schemas.microsoft.com/office/drawing/2014/main" id="{F18CE3CE-AC16-4D0D-82D0-0557A8BDCB15}"/>
                </a:ext>
              </a:extLst>
            </p:cNvPr>
            <p:cNvSpPr>
              <a:spLocks/>
            </p:cNvSpPr>
            <p:nvPr/>
          </p:nvSpPr>
          <p:spPr bwMode="auto">
            <a:xfrm>
              <a:off x="4593437" y="3901420"/>
              <a:ext cx="277871" cy="276301"/>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8" name="Freeform 20">
              <a:extLst>
                <a:ext uri="{FF2B5EF4-FFF2-40B4-BE49-F238E27FC236}">
                  <a16:creationId xmlns:a16="http://schemas.microsoft.com/office/drawing/2014/main" id="{D6A5D970-B984-48CA-A35F-A4EEC4990E51}"/>
                </a:ext>
              </a:extLst>
            </p:cNvPr>
            <p:cNvSpPr>
              <a:spLocks/>
            </p:cNvSpPr>
            <p:nvPr/>
          </p:nvSpPr>
          <p:spPr bwMode="auto">
            <a:xfrm>
              <a:off x="4345394" y="4209119"/>
              <a:ext cx="255892" cy="257462"/>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9" name="Freeform 21">
              <a:extLst>
                <a:ext uri="{FF2B5EF4-FFF2-40B4-BE49-F238E27FC236}">
                  <a16:creationId xmlns:a16="http://schemas.microsoft.com/office/drawing/2014/main" id="{C51436C8-4336-4766-A932-6BCE214D7BE8}"/>
                </a:ext>
              </a:extLst>
            </p:cNvPr>
            <p:cNvSpPr>
              <a:spLocks/>
            </p:cNvSpPr>
            <p:nvPr/>
          </p:nvSpPr>
          <p:spPr bwMode="auto">
            <a:xfrm>
              <a:off x="3885415" y="3827635"/>
              <a:ext cx="390903" cy="390903"/>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0" name="Freeform 22">
              <a:extLst>
                <a:ext uri="{FF2B5EF4-FFF2-40B4-BE49-F238E27FC236}">
                  <a16:creationId xmlns:a16="http://schemas.microsoft.com/office/drawing/2014/main" id="{C7FBBE52-36BE-4DA5-BA08-AAAD3AC35464}"/>
                </a:ext>
              </a:extLst>
            </p:cNvPr>
            <p:cNvSpPr>
              <a:spLocks/>
            </p:cNvSpPr>
            <p:nvPr/>
          </p:nvSpPr>
          <p:spPr bwMode="auto">
            <a:xfrm>
              <a:off x="6368984" y="3603140"/>
              <a:ext cx="427011" cy="976473"/>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1" name="Freeform 23">
              <a:extLst>
                <a:ext uri="{FF2B5EF4-FFF2-40B4-BE49-F238E27FC236}">
                  <a16:creationId xmlns:a16="http://schemas.microsoft.com/office/drawing/2014/main" id="{2121F242-C329-4FF7-A635-D8F3643B4FF8}"/>
                </a:ext>
              </a:extLst>
            </p:cNvPr>
            <p:cNvSpPr>
              <a:spLocks/>
            </p:cNvSpPr>
            <p:nvPr/>
          </p:nvSpPr>
          <p:spPr bwMode="auto">
            <a:xfrm>
              <a:off x="6791285" y="3603140"/>
              <a:ext cx="431720" cy="976473"/>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2" name="Oval 24">
              <a:extLst>
                <a:ext uri="{FF2B5EF4-FFF2-40B4-BE49-F238E27FC236}">
                  <a16:creationId xmlns:a16="http://schemas.microsoft.com/office/drawing/2014/main" id="{A885F496-684D-4779-B91F-D4607F58B5D5}"/>
                </a:ext>
              </a:extLst>
            </p:cNvPr>
            <p:cNvSpPr>
              <a:spLocks noChangeArrowheads="1"/>
            </p:cNvSpPr>
            <p:nvPr/>
          </p:nvSpPr>
          <p:spPr bwMode="auto">
            <a:xfrm>
              <a:off x="6368984" y="3449291"/>
              <a:ext cx="854021" cy="3076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3" name="Oval 25">
              <a:extLst>
                <a:ext uri="{FF2B5EF4-FFF2-40B4-BE49-F238E27FC236}">
                  <a16:creationId xmlns:a16="http://schemas.microsoft.com/office/drawing/2014/main" id="{AA823D53-1C1E-47FD-8629-8AFF03C9C0DC}"/>
                </a:ext>
              </a:extLst>
            </p:cNvPr>
            <p:cNvSpPr>
              <a:spLocks noChangeArrowheads="1"/>
            </p:cNvSpPr>
            <p:nvPr/>
          </p:nvSpPr>
          <p:spPr bwMode="auto">
            <a:xfrm>
              <a:off x="6455328" y="3490108"/>
              <a:ext cx="681333" cy="204086"/>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4" name="Freeform 26">
              <a:extLst>
                <a:ext uri="{FF2B5EF4-FFF2-40B4-BE49-F238E27FC236}">
                  <a16:creationId xmlns:a16="http://schemas.microsoft.com/office/drawing/2014/main" id="{3212D217-77C6-4AB3-9123-406B12CDB5C1}"/>
                </a:ext>
              </a:extLst>
            </p:cNvPr>
            <p:cNvSpPr>
              <a:spLocks/>
            </p:cNvSpPr>
            <p:nvPr/>
          </p:nvSpPr>
          <p:spPr bwMode="auto">
            <a:xfrm>
              <a:off x="6455328" y="3490108"/>
              <a:ext cx="681333" cy="166409"/>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5" name="Freeform 27">
              <a:extLst>
                <a:ext uri="{FF2B5EF4-FFF2-40B4-BE49-F238E27FC236}">
                  <a16:creationId xmlns:a16="http://schemas.microsoft.com/office/drawing/2014/main" id="{47AC9B04-8CC3-4F45-A212-74C5CEF23D64}"/>
                </a:ext>
              </a:extLst>
            </p:cNvPr>
            <p:cNvSpPr>
              <a:spLocks noEditPoints="1"/>
            </p:cNvSpPr>
            <p:nvPr/>
          </p:nvSpPr>
          <p:spPr bwMode="auto">
            <a:xfrm>
              <a:off x="6485156" y="3948517"/>
              <a:ext cx="621677" cy="350086"/>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6" name="Freeform 28">
              <a:extLst>
                <a:ext uri="{FF2B5EF4-FFF2-40B4-BE49-F238E27FC236}">
                  <a16:creationId xmlns:a16="http://schemas.microsoft.com/office/drawing/2014/main" id="{7A2030B0-83E7-405C-93C2-E7C3B5C79FF2}"/>
                </a:ext>
              </a:extLst>
            </p:cNvPr>
            <p:cNvSpPr>
              <a:spLocks/>
            </p:cNvSpPr>
            <p:nvPr/>
          </p:nvSpPr>
          <p:spPr bwMode="auto">
            <a:xfrm>
              <a:off x="6563651" y="4011312"/>
              <a:ext cx="149140" cy="222925"/>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7" name="Freeform 29">
              <a:extLst>
                <a:ext uri="{FF2B5EF4-FFF2-40B4-BE49-F238E27FC236}">
                  <a16:creationId xmlns:a16="http://schemas.microsoft.com/office/drawing/2014/main" id="{5C2985AC-4124-428A-8626-1DD1ACC83B02}"/>
                </a:ext>
              </a:extLst>
            </p:cNvPr>
            <p:cNvSpPr>
              <a:spLocks/>
            </p:cNvSpPr>
            <p:nvPr/>
          </p:nvSpPr>
          <p:spPr bwMode="auto">
            <a:xfrm>
              <a:off x="6923156" y="4005033"/>
              <a:ext cx="86344" cy="83204"/>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8" name="Freeform 30">
              <a:extLst>
                <a:ext uri="{FF2B5EF4-FFF2-40B4-BE49-F238E27FC236}">
                  <a16:creationId xmlns:a16="http://schemas.microsoft.com/office/drawing/2014/main" id="{03E79522-5639-4910-A5B1-468647CBE41F}"/>
                </a:ext>
              </a:extLst>
            </p:cNvPr>
            <p:cNvSpPr>
              <a:spLocks/>
            </p:cNvSpPr>
            <p:nvPr/>
          </p:nvSpPr>
          <p:spPr bwMode="auto">
            <a:xfrm>
              <a:off x="6921586" y="4147893"/>
              <a:ext cx="102043" cy="91054"/>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9" name="Freeform 31">
              <a:extLst>
                <a:ext uri="{FF2B5EF4-FFF2-40B4-BE49-F238E27FC236}">
                  <a16:creationId xmlns:a16="http://schemas.microsoft.com/office/drawing/2014/main" id="{A3BE35E3-1D40-459D-9143-7D5109DD12F9}"/>
                </a:ext>
              </a:extLst>
            </p:cNvPr>
            <p:cNvSpPr>
              <a:spLocks/>
            </p:cNvSpPr>
            <p:nvPr/>
          </p:nvSpPr>
          <p:spPr bwMode="auto">
            <a:xfrm>
              <a:off x="6419221" y="6092989"/>
              <a:ext cx="751978" cy="219785"/>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0" name="Freeform 32">
              <a:extLst>
                <a:ext uri="{FF2B5EF4-FFF2-40B4-BE49-F238E27FC236}">
                  <a16:creationId xmlns:a16="http://schemas.microsoft.com/office/drawing/2014/main" id="{18EC5096-ACD0-4AE8-9E0D-9A5035779355}"/>
                </a:ext>
              </a:extLst>
            </p:cNvPr>
            <p:cNvSpPr>
              <a:spLocks noEditPoints="1"/>
            </p:cNvSpPr>
            <p:nvPr/>
          </p:nvSpPr>
          <p:spPr bwMode="auto">
            <a:xfrm>
              <a:off x="6221414" y="5251527"/>
              <a:ext cx="1150731" cy="841462"/>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1" name="Freeform 33">
              <a:extLst>
                <a:ext uri="{FF2B5EF4-FFF2-40B4-BE49-F238E27FC236}">
                  <a16:creationId xmlns:a16="http://schemas.microsoft.com/office/drawing/2014/main" id="{188AF8C1-3942-4B91-A6BD-FF0530491940}"/>
                </a:ext>
              </a:extLst>
            </p:cNvPr>
            <p:cNvSpPr>
              <a:spLocks/>
            </p:cNvSpPr>
            <p:nvPr/>
          </p:nvSpPr>
          <p:spPr bwMode="auto">
            <a:xfrm>
              <a:off x="6307758" y="5339441"/>
              <a:ext cx="974903" cy="664064"/>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2" name="Freeform 34">
              <a:extLst>
                <a:ext uri="{FF2B5EF4-FFF2-40B4-BE49-F238E27FC236}">
                  <a16:creationId xmlns:a16="http://schemas.microsoft.com/office/drawing/2014/main" id="{325AC8B7-5835-486C-9410-C8DE9D496FAD}"/>
                </a:ext>
              </a:extLst>
            </p:cNvPr>
            <p:cNvSpPr>
              <a:spLocks/>
            </p:cNvSpPr>
            <p:nvPr/>
          </p:nvSpPr>
          <p:spPr bwMode="auto">
            <a:xfrm>
              <a:off x="6307758" y="5339441"/>
              <a:ext cx="974903" cy="664064"/>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3" name="Freeform 35">
              <a:extLst>
                <a:ext uri="{FF2B5EF4-FFF2-40B4-BE49-F238E27FC236}">
                  <a16:creationId xmlns:a16="http://schemas.microsoft.com/office/drawing/2014/main" id="{3975314C-19B2-4AEA-90E1-7A103338B8D7}"/>
                </a:ext>
              </a:extLst>
            </p:cNvPr>
            <p:cNvSpPr>
              <a:spLocks/>
            </p:cNvSpPr>
            <p:nvPr/>
          </p:nvSpPr>
          <p:spPr bwMode="auto">
            <a:xfrm>
              <a:off x="6221414" y="5251527"/>
              <a:ext cx="1080086" cy="841462"/>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4" name="Freeform 36">
              <a:extLst>
                <a:ext uri="{FF2B5EF4-FFF2-40B4-BE49-F238E27FC236}">
                  <a16:creationId xmlns:a16="http://schemas.microsoft.com/office/drawing/2014/main" id="{50C680BE-8E40-4B44-B95A-C5AFB8E06C28}"/>
                </a:ext>
              </a:extLst>
            </p:cNvPr>
            <p:cNvSpPr>
              <a:spLocks/>
            </p:cNvSpPr>
            <p:nvPr/>
          </p:nvSpPr>
          <p:spPr bwMode="auto">
            <a:xfrm>
              <a:off x="6307758" y="5339441"/>
              <a:ext cx="891699" cy="664064"/>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5" name="Rectangle 37">
              <a:extLst>
                <a:ext uri="{FF2B5EF4-FFF2-40B4-BE49-F238E27FC236}">
                  <a16:creationId xmlns:a16="http://schemas.microsoft.com/office/drawing/2014/main" id="{3117CEB3-8E1C-4E0B-A736-DC29E6FF2ED1}"/>
                </a:ext>
              </a:extLst>
            </p:cNvPr>
            <p:cNvSpPr>
              <a:spLocks noChangeArrowheads="1"/>
            </p:cNvSpPr>
            <p:nvPr/>
          </p:nvSpPr>
          <p:spPr bwMode="auto">
            <a:xfrm>
              <a:off x="6419221" y="6243698"/>
              <a:ext cx="751978" cy="6907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6" name="Oval 38">
              <a:extLst>
                <a:ext uri="{FF2B5EF4-FFF2-40B4-BE49-F238E27FC236}">
                  <a16:creationId xmlns:a16="http://schemas.microsoft.com/office/drawing/2014/main" id="{3D181AC2-A368-4C9D-9E43-C463C9E8E1E0}"/>
                </a:ext>
              </a:extLst>
            </p:cNvPr>
            <p:cNvSpPr>
              <a:spLocks noChangeArrowheads="1"/>
            </p:cNvSpPr>
            <p:nvPr/>
          </p:nvSpPr>
          <p:spPr bwMode="auto">
            <a:xfrm>
              <a:off x="6775586" y="5282925"/>
              <a:ext cx="31398" cy="32968"/>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7" name="Freeform 39">
              <a:extLst>
                <a:ext uri="{FF2B5EF4-FFF2-40B4-BE49-F238E27FC236}">
                  <a16:creationId xmlns:a16="http://schemas.microsoft.com/office/drawing/2014/main" id="{2D7B3D7C-5FE5-47CE-A4E7-86C05B74FF73}"/>
                </a:ext>
              </a:extLst>
            </p:cNvPr>
            <p:cNvSpPr>
              <a:spLocks/>
            </p:cNvSpPr>
            <p:nvPr/>
          </p:nvSpPr>
          <p:spPr bwMode="auto">
            <a:xfrm>
              <a:off x="6587199" y="5416366"/>
              <a:ext cx="414451" cy="243333"/>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8" name="Freeform 40">
              <a:extLst>
                <a:ext uri="{FF2B5EF4-FFF2-40B4-BE49-F238E27FC236}">
                  <a16:creationId xmlns:a16="http://schemas.microsoft.com/office/drawing/2014/main" id="{4E917A6D-2605-4DBA-A6D1-61AC43D27049}"/>
                </a:ext>
              </a:extLst>
            </p:cNvPr>
            <p:cNvSpPr>
              <a:spLocks/>
            </p:cNvSpPr>
            <p:nvPr/>
          </p:nvSpPr>
          <p:spPr bwMode="auto">
            <a:xfrm>
              <a:off x="6558941" y="5581204"/>
              <a:ext cx="213505" cy="364215"/>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9" name="Freeform 41">
              <a:extLst>
                <a:ext uri="{FF2B5EF4-FFF2-40B4-BE49-F238E27FC236}">
                  <a16:creationId xmlns:a16="http://schemas.microsoft.com/office/drawing/2014/main" id="{69B75934-E210-4B94-8B3F-B2B955A5F287}"/>
                </a:ext>
              </a:extLst>
            </p:cNvPr>
            <p:cNvSpPr>
              <a:spLocks/>
            </p:cNvSpPr>
            <p:nvPr/>
          </p:nvSpPr>
          <p:spPr bwMode="auto">
            <a:xfrm>
              <a:off x="6817973" y="5582774"/>
              <a:ext cx="213505" cy="362645"/>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0" name="Freeform 42">
              <a:extLst>
                <a:ext uri="{FF2B5EF4-FFF2-40B4-BE49-F238E27FC236}">
                  <a16:creationId xmlns:a16="http://schemas.microsoft.com/office/drawing/2014/main" id="{A4274DE5-F02C-478A-8E2B-5EFC09A69A6F}"/>
                </a:ext>
              </a:extLst>
            </p:cNvPr>
            <p:cNvSpPr>
              <a:spLocks/>
            </p:cNvSpPr>
            <p:nvPr/>
          </p:nvSpPr>
          <p:spPr bwMode="auto">
            <a:xfrm>
              <a:off x="3841458" y="5480731"/>
              <a:ext cx="1102064" cy="772387"/>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1" name="Freeform 43">
              <a:extLst>
                <a:ext uri="{FF2B5EF4-FFF2-40B4-BE49-F238E27FC236}">
                  <a16:creationId xmlns:a16="http://schemas.microsoft.com/office/drawing/2014/main" id="{97EA1AB0-DC6E-4C25-AA4C-B4E7CF058790}"/>
                </a:ext>
              </a:extLst>
            </p:cNvPr>
            <p:cNvSpPr>
              <a:spLocks/>
            </p:cNvSpPr>
            <p:nvPr/>
          </p:nvSpPr>
          <p:spPr bwMode="auto">
            <a:xfrm>
              <a:off x="3841458" y="5312753"/>
              <a:ext cx="1102064" cy="167978"/>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2" name="Rectangle 44">
              <a:extLst>
                <a:ext uri="{FF2B5EF4-FFF2-40B4-BE49-F238E27FC236}">
                  <a16:creationId xmlns:a16="http://schemas.microsoft.com/office/drawing/2014/main" id="{A218514A-BE4F-4BF4-9766-50DCA4C89C56}"/>
                </a:ext>
              </a:extLst>
            </p:cNvPr>
            <p:cNvSpPr>
              <a:spLocks noChangeArrowheads="1"/>
            </p:cNvSpPr>
            <p:nvPr/>
          </p:nvSpPr>
          <p:spPr bwMode="auto">
            <a:xfrm>
              <a:off x="4166426" y="5720925"/>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3" name="Rectangle 45">
              <a:extLst>
                <a:ext uri="{FF2B5EF4-FFF2-40B4-BE49-F238E27FC236}">
                  <a16:creationId xmlns:a16="http://schemas.microsoft.com/office/drawing/2014/main" id="{301AE05A-D45E-4972-A1FB-5C8F707C2C16}"/>
                </a:ext>
              </a:extLst>
            </p:cNvPr>
            <p:cNvSpPr>
              <a:spLocks noChangeArrowheads="1"/>
            </p:cNvSpPr>
            <p:nvPr/>
          </p:nvSpPr>
          <p:spPr bwMode="auto">
            <a:xfrm>
              <a:off x="4166426" y="5720925"/>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4" name="Rectangle 46">
              <a:extLst>
                <a:ext uri="{FF2B5EF4-FFF2-40B4-BE49-F238E27FC236}">
                  <a16:creationId xmlns:a16="http://schemas.microsoft.com/office/drawing/2014/main" id="{5777E90E-D8FE-4D70-8940-12AF4B1E5A9A}"/>
                </a:ext>
              </a:extLst>
            </p:cNvPr>
            <p:cNvSpPr>
              <a:spLocks noChangeArrowheads="1"/>
            </p:cNvSpPr>
            <p:nvPr/>
          </p:nvSpPr>
          <p:spPr bwMode="auto">
            <a:xfrm>
              <a:off x="4166426" y="5557656"/>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5" name="Rectangle 47">
              <a:extLst>
                <a:ext uri="{FF2B5EF4-FFF2-40B4-BE49-F238E27FC236}">
                  <a16:creationId xmlns:a16="http://schemas.microsoft.com/office/drawing/2014/main" id="{A63F86E9-66B9-4778-9AED-3B5D7DF0CA8C}"/>
                </a:ext>
              </a:extLst>
            </p:cNvPr>
            <p:cNvSpPr>
              <a:spLocks noChangeArrowheads="1"/>
            </p:cNvSpPr>
            <p:nvPr/>
          </p:nvSpPr>
          <p:spPr bwMode="auto">
            <a:xfrm>
              <a:off x="4166426" y="5557656"/>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6" name="Rectangle 48">
              <a:extLst>
                <a:ext uri="{FF2B5EF4-FFF2-40B4-BE49-F238E27FC236}">
                  <a16:creationId xmlns:a16="http://schemas.microsoft.com/office/drawing/2014/main" id="{F952DE01-5E9F-4FC6-9AE4-8F96EDCC3741}"/>
                </a:ext>
              </a:extLst>
            </p:cNvPr>
            <p:cNvSpPr>
              <a:spLocks noChangeArrowheads="1"/>
            </p:cNvSpPr>
            <p:nvPr/>
          </p:nvSpPr>
          <p:spPr bwMode="auto">
            <a:xfrm>
              <a:off x="4166426" y="5884193"/>
              <a:ext cx="204086" cy="12402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7" name="Rectangle 49">
              <a:extLst>
                <a:ext uri="{FF2B5EF4-FFF2-40B4-BE49-F238E27FC236}">
                  <a16:creationId xmlns:a16="http://schemas.microsoft.com/office/drawing/2014/main" id="{A1EB26F9-94E4-4F9C-861D-D8E24BBB9A80}"/>
                </a:ext>
              </a:extLst>
            </p:cNvPr>
            <p:cNvSpPr>
              <a:spLocks noChangeArrowheads="1"/>
            </p:cNvSpPr>
            <p:nvPr/>
          </p:nvSpPr>
          <p:spPr bwMode="auto">
            <a:xfrm>
              <a:off x="4166426" y="5884193"/>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8" name="Rectangle 50">
              <a:extLst>
                <a:ext uri="{FF2B5EF4-FFF2-40B4-BE49-F238E27FC236}">
                  <a16:creationId xmlns:a16="http://schemas.microsoft.com/office/drawing/2014/main" id="{1EF0D373-0D62-4DA8-9A58-7B17A3BF20D1}"/>
                </a:ext>
              </a:extLst>
            </p:cNvPr>
            <p:cNvSpPr>
              <a:spLocks noChangeArrowheads="1"/>
            </p:cNvSpPr>
            <p:nvPr/>
          </p:nvSpPr>
          <p:spPr bwMode="auto">
            <a:xfrm>
              <a:off x="4411329" y="5884193"/>
              <a:ext cx="204086" cy="12402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9" name="Rectangle 51">
              <a:extLst>
                <a:ext uri="{FF2B5EF4-FFF2-40B4-BE49-F238E27FC236}">
                  <a16:creationId xmlns:a16="http://schemas.microsoft.com/office/drawing/2014/main" id="{7963D7D5-9041-4797-AF59-C0AAAD87B086}"/>
                </a:ext>
              </a:extLst>
            </p:cNvPr>
            <p:cNvSpPr>
              <a:spLocks noChangeArrowheads="1"/>
            </p:cNvSpPr>
            <p:nvPr/>
          </p:nvSpPr>
          <p:spPr bwMode="auto">
            <a:xfrm>
              <a:off x="4411329" y="5720925"/>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0" name="Rectangle 52">
              <a:extLst>
                <a:ext uri="{FF2B5EF4-FFF2-40B4-BE49-F238E27FC236}">
                  <a16:creationId xmlns:a16="http://schemas.microsoft.com/office/drawing/2014/main" id="{76FB49A9-E03B-46E2-9CF0-342AC5CD4271}"/>
                </a:ext>
              </a:extLst>
            </p:cNvPr>
            <p:cNvSpPr>
              <a:spLocks noChangeArrowheads="1"/>
            </p:cNvSpPr>
            <p:nvPr/>
          </p:nvSpPr>
          <p:spPr bwMode="auto">
            <a:xfrm>
              <a:off x="4411329" y="5720925"/>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1" name="Rectangle 53">
              <a:extLst>
                <a:ext uri="{FF2B5EF4-FFF2-40B4-BE49-F238E27FC236}">
                  <a16:creationId xmlns:a16="http://schemas.microsoft.com/office/drawing/2014/main" id="{8104717A-B1F6-457B-AAE2-E6230F9EA40A}"/>
                </a:ext>
              </a:extLst>
            </p:cNvPr>
            <p:cNvSpPr>
              <a:spLocks noChangeArrowheads="1"/>
            </p:cNvSpPr>
            <p:nvPr/>
          </p:nvSpPr>
          <p:spPr bwMode="auto">
            <a:xfrm>
              <a:off x="4411329" y="5557656"/>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2" name="Rectangle 54">
              <a:extLst>
                <a:ext uri="{FF2B5EF4-FFF2-40B4-BE49-F238E27FC236}">
                  <a16:creationId xmlns:a16="http://schemas.microsoft.com/office/drawing/2014/main" id="{372EF380-2FDD-4360-BAEC-39653F066D27}"/>
                </a:ext>
              </a:extLst>
            </p:cNvPr>
            <p:cNvSpPr>
              <a:spLocks noChangeArrowheads="1"/>
            </p:cNvSpPr>
            <p:nvPr/>
          </p:nvSpPr>
          <p:spPr bwMode="auto">
            <a:xfrm>
              <a:off x="4411329" y="5557656"/>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3" name="Rectangle 55">
              <a:extLst>
                <a:ext uri="{FF2B5EF4-FFF2-40B4-BE49-F238E27FC236}">
                  <a16:creationId xmlns:a16="http://schemas.microsoft.com/office/drawing/2014/main" id="{1FD536CF-07A0-4E75-A2AE-9D72D27BDE1A}"/>
                </a:ext>
              </a:extLst>
            </p:cNvPr>
            <p:cNvSpPr>
              <a:spLocks noChangeArrowheads="1"/>
            </p:cNvSpPr>
            <p:nvPr/>
          </p:nvSpPr>
          <p:spPr bwMode="auto">
            <a:xfrm>
              <a:off x="3923093" y="5557656"/>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4" name="Rectangle 56">
              <a:extLst>
                <a:ext uri="{FF2B5EF4-FFF2-40B4-BE49-F238E27FC236}">
                  <a16:creationId xmlns:a16="http://schemas.microsoft.com/office/drawing/2014/main" id="{B090770A-73BE-4762-85CF-6840F7CBAF22}"/>
                </a:ext>
              </a:extLst>
            </p:cNvPr>
            <p:cNvSpPr>
              <a:spLocks noChangeArrowheads="1"/>
            </p:cNvSpPr>
            <p:nvPr/>
          </p:nvSpPr>
          <p:spPr bwMode="auto">
            <a:xfrm>
              <a:off x="3923093" y="5557656"/>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5" name="Rectangle 57">
              <a:extLst>
                <a:ext uri="{FF2B5EF4-FFF2-40B4-BE49-F238E27FC236}">
                  <a16:creationId xmlns:a16="http://schemas.microsoft.com/office/drawing/2014/main" id="{30E38FC6-8E44-4B2C-BF03-D1A3EC96C704}"/>
                </a:ext>
              </a:extLst>
            </p:cNvPr>
            <p:cNvSpPr>
              <a:spLocks noChangeArrowheads="1"/>
            </p:cNvSpPr>
            <p:nvPr/>
          </p:nvSpPr>
          <p:spPr bwMode="auto">
            <a:xfrm>
              <a:off x="3923093" y="5720925"/>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6" name="Rectangle 58">
              <a:extLst>
                <a:ext uri="{FF2B5EF4-FFF2-40B4-BE49-F238E27FC236}">
                  <a16:creationId xmlns:a16="http://schemas.microsoft.com/office/drawing/2014/main" id="{E0C886E5-C568-4884-8AAD-BE29BA352C88}"/>
                </a:ext>
              </a:extLst>
            </p:cNvPr>
            <p:cNvSpPr>
              <a:spLocks noChangeArrowheads="1"/>
            </p:cNvSpPr>
            <p:nvPr/>
          </p:nvSpPr>
          <p:spPr bwMode="auto">
            <a:xfrm>
              <a:off x="3923093" y="5720925"/>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7" name="Rectangle 59">
              <a:extLst>
                <a:ext uri="{FF2B5EF4-FFF2-40B4-BE49-F238E27FC236}">
                  <a16:creationId xmlns:a16="http://schemas.microsoft.com/office/drawing/2014/main" id="{2A272EE0-BCC2-49D5-8DDC-06EFEC659C42}"/>
                </a:ext>
              </a:extLst>
            </p:cNvPr>
            <p:cNvSpPr>
              <a:spLocks noChangeArrowheads="1"/>
            </p:cNvSpPr>
            <p:nvPr/>
          </p:nvSpPr>
          <p:spPr bwMode="auto">
            <a:xfrm>
              <a:off x="3923093" y="5884193"/>
              <a:ext cx="204086" cy="12402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8" name="Rectangle 60">
              <a:extLst>
                <a:ext uri="{FF2B5EF4-FFF2-40B4-BE49-F238E27FC236}">
                  <a16:creationId xmlns:a16="http://schemas.microsoft.com/office/drawing/2014/main" id="{28D30913-B90D-4087-B86B-41C9FEF8F001}"/>
                </a:ext>
              </a:extLst>
            </p:cNvPr>
            <p:cNvSpPr>
              <a:spLocks noChangeArrowheads="1"/>
            </p:cNvSpPr>
            <p:nvPr/>
          </p:nvSpPr>
          <p:spPr bwMode="auto">
            <a:xfrm>
              <a:off x="3923093" y="5884193"/>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9" name="Rectangle 61">
              <a:extLst>
                <a:ext uri="{FF2B5EF4-FFF2-40B4-BE49-F238E27FC236}">
                  <a16:creationId xmlns:a16="http://schemas.microsoft.com/office/drawing/2014/main" id="{7BB8925B-BB32-48C7-AD7F-5D088DC9F470}"/>
                </a:ext>
              </a:extLst>
            </p:cNvPr>
            <p:cNvSpPr>
              <a:spLocks noChangeArrowheads="1"/>
            </p:cNvSpPr>
            <p:nvPr/>
          </p:nvSpPr>
          <p:spPr bwMode="auto">
            <a:xfrm>
              <a:off x="3923093" y="6049032"/>
              <a:ext cx="204086" cy="12088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0" name="Rectangle 62">
              <a:extLst>
                <a:ext uri="{FF2B5EF4-FFF2-40B4-BE49-F238E27FC236}">
                  <a16:creationId xmlns:a16="http://schemas.microsoft.com/office/drawing/2014/main" id="{79F288DE-F907-40F2-86FA-0E8FBAEF2B1D}"/>
                </a:ext>
              </a:extLst>
            </p:cNvPr>
            <p:cNvSpPr>
              <a:spLocks noChangeArrowheads="1"/>
            </p:cNvSpPr>
            <p:nvPr/>
          </p:nvSpPr>
          <p:spPr bwMode="auto">
            <a:xfrm>
              <a:off x="3923093" y="6049032"/>
              <a:ext cx="204086" cy="120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1" name="Rectangle 63">
              <a:extLst>
                <a:ext uri="{FF2B5EF4-FFF2-40B4-BE49-F238E27FC236}">
                  <a16:creationId xmlns:a16="http://schemas.microsoft.com/office/drawing/2014/main" id="{1C6D8644-B87A-4DB1-B2C7-49F4DC0AB189}"/>
                </a:ext>
              </a:extLst>
            </p:cNvPr>
            <p:cNvSpPr>
              <a:spLocks noChangeArrowheads="1"/>
            </p:cNvSpPr>
            <p:nvPr/>
          </p:nvSpPr>
          <p:spPr bwMode="auto">
            <a:xfrm>
              <a:off x="4166426" y="6049032"/>
              <a:ext cx="204086" cy="12088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2" name="Rectangle 64">
              <a:extLst>
                <a:ext uri="{FF2B5EF4-FFF2-40B4-BE49-F238E27FC236}">
                  <a16:creationId xmlns:a16="http://schemas.microsoft.com/office/drawing/2014/main" id="{B78845BA-72A0-42DF-9A27-E8E5AB023817}"/>
                </a:ext>
              </a:extLst>
            </p:cNvPr>
            <p:cNvSpPr>
              <a:spLocks noChangeArrowheads="1"/>
            </p:cNvSpPr>
            <p:nvPr/>
          </p:nvSpPr>
          <p:spPr bwMode="auto">
            <a:xfrm>
              <a:off x="4411329" y="6049032"/>
              <a:ext cx="204086" cy="12088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3" name="Rectangle 65">
              <a:extLst>
                <a:ext uri="{FF2B5EF4-FFF2-40B4-BE49-F238E27FC236}">
                  <a16:creationId xmlns:a16="http://schemas.microsoft.com/office/drawing/2014/main" id="{72194948-1181-4B1B-A93D-B6EE606BA9E0}"/>
                </a:ext>
              </a:extLst>
            </p:cNvPr>
            <p:cNvSpPr>
              <a:spLocks noChangeArrowheads="1"/>
            </p:cNvSpPr>
            <p:nvPr/>
          </p:nvSpPr>
          <p:spPr bwMode="auto">
            <a:xfrm>
              <a:off x="4657802" y="5884193"/>
              <a:ext cx="204086" cy="12402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4" name="Rectangle 66">
              <a:extLst>
                <a:ext uri="{FF2B5EF4-FFF2-40B4-BE49-F238E27FC236}">
                  <a16:creationId xmlns:a16="http://schemas.microsoft.com/office/drawing/2014/main" id="{4603C0E3-19F2-4BED-A7A6-2E634E4E7490}"/>
                </a:ext>
              </a:extLst>
            </p:cNvPr>
            <p:cNvSpPr>
              <a:spLocks noChangeArrowheads="1"/>
            </p:cNvSpPr>
            <p:nvPr/>
          </p:nvSpPr>
          <p:spPr bwMode="auto">
            <a:xfrm>
              <a:off x="4657802" y="5720925"/>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5" name="Rectangle 67">
              <a:extLst>
                <a:ext uri="{FF2B5EF4-FFF2-40B4-BE49-F238E27FC236}">
                  <a16:creationId xmlns:a16="http://schemas.microsoft.com/office/drawing/2014/main" id="{CFB63663-C469-486D-BF21-F428DD7B7588}"/>
                </a:ext>
              </a:extLst>
            </p:cNvPr>
            <p:cNvSpPr>
              <a:spLocks noChangeArrowheads="1"/>
            </p:cNvSpPr>
            <p:nvPr/>
          </p:nvSpPr>
          <p:spPr bwMode="auto">
            <a:xfrm>
              <a:off x="4657802" y="5557656"/>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6" name="Rectangle 68">
              <a:extLst>
                <a:ext uri="{FF2B5EF4-FFF2-40B4-BE49-F238E27FC236}">
                  <a16:creationId xmlns:a16="http://schemas.microsoft.com/office/drawing/2014/main" id="{9CD4112C-8981-4C8C-A6C7-A8A961639417}"/>
                </a:ext>
              </a:extLst>
            </p:cNvPr>
            <p:cNvSpPr>
              <a:spLocks noChangeArrowheads="1"/>
            </p:cNvSpPr>
            <p:nvPr/>
          </p:nvSpPr>
          <p:spPr bwMode="auto">
            <a:xfrm>
              <a:off x="4657802" y="6049032"/>
              <a:ext cx="204086" cy="12088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7" name="Freeform 69">
              <a:extLst>
                <a:ext uri="{FF2B5EF4-FFF2-40B4-BE49-F238E27FC236}">
                  <a16:creationId xmlns:a16="http://schemas.microsoft.com/office/drawing/2014/main" id="{FDFF1CD7-546E-4241-A425-DA016B233BBE}"/>
                </a:ext>
              </a:extLst>
            </p:cNvPr>
            <p:cNvSpPr>
              <a:spLocks noEditPoints="1"/>
            </p:cNvSpPr>
            <p:nvPr/>
          </p:nvSpPr>
          <p:spPr bwMode="auto">
            <a:xfrm>
              <a:off x="3875996" y="5312753"/>
              <a:ext cx="927806"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8" name="Freeform 70">
              <a:extLst>
                <a:ext uri="{FF2B5EF4-FFF2-40B4-BE49-F238E27FC236}">
                  <a16:creationId xmlns:a16="http://schemas.microsoft.com/office/drawing/2014/main" id="{4F957B80-0D11-4DDF-8E14-755CBE443729}"/>
                </a:ext>
              </a:extLst>
            </p:cNvPr>
            <p:cNvSpPr>
              <a:spLocks/>
            </p:cNvSpPr>
            <p:nvPr/>
          </p:nvSpPr>
          <p:spPr bwMode="auto">
            <a:xfrm>
              <a:off x="4133458" y="5312753"/>
              <a:ext cx="36108"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9" name="Freeform 71">
              <a:extLst>
                <a:ext uri="{FF2B5EF4-FFF2-40B4-BE49-F238E27FC236}">
                  <a16:creationId xmlns:a16="http://schemas.microsoft.com/office/drawing/2014/main" id="{C12B8C04-8CF3-48C3-9942-5501FA2E9D55}"/>
                </a:ext>
              </a:extLst>
            </p:cNvPr>
            <p:cNvSpPr>
              <a:spLocks/>
            </p:cNvSpPr>
            <p:nvPr/>
          </p:nvSpPr>
          <p:spPr bwMode="auto">
            <a:xfrm>
              <a:off x="3879136" y="6253118"/>
              <a:ext cx="54946"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0" name="Freeform 72">
              <a:extLst>
                <a:ext uri="{FF2B5EF4-FFF2-40B4-BE49-F238E27FC236}">
                  <a16:creationId xmlns:a16="http://schemas.microsoft.com/office/drawing/2014/main" id="{F7E55B45-5BDA-4D69-B202-2F65411DD5A5}"/>
                </a:ext>
              </a:extLst>
            </p:cNvPr>
            <p:cNvSpPr>
              <a:spLocks noEditPoints="1"/>
            </p:cNvSpPr>
            <p:nvPr/>
          </p:nvSpPr>
          <p:spPr bwMode="auto">
            <a:xfrm>
              <a:off x="3841458" y="5480731"/>
              <a:ext cx="805355" cy="772387"/>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1" name="Freeform 73">
              <a:extLst>
                <a:ext uri="{FF2B5EF4-FFF2-40B4-BE49-F238E27FC236}">
                  <a16:creationId xmlns:a16="http://schemas.microsoft.com/office/drawing/2014/main" id="{1068B70D-0A07-4CC3-B2A8-53F3FCB2786E}"/>
                </a:ext>
              </a:extLst>
            </p:cNvPr>
            <p:cNvSpPr>
              <a:spLocks/>
            </p:cNvSpPr>
            <p:nvPr/>
          </p:nvSpPr>
          <p:spPr bwMode="auto">
            <a:xfrm>
              <a:off x="3841458" y="5312753"/>
              <a:ext cx="959204" cy="167978"/>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2" name="Freeform 74">
              <a:extLst>
                <a:ext uri="{FF2B5EF4-FFF2-40B4-BE49-F238E27FC236}">
                  <a16:creationId xmlns:a16="http://schemas.microsoft.com/office/drawing/2014/main" id="{643E1E83-04E6-4C0E-A5CA-421257A4BCAE}"/>
                </a:ext>
              </a:extLst>
            </p:cNvPr>
            <p:cNvSpPr>
              <a:spLocks/>
            </p:cNvSpPr>
            <p:nvPr/>
          </p:nvSpPr>
          <p:spPr bwMode="auto">
            <a:xfrm>
              <a:off x="4166426" y="5720925"/>
              <a:ext cx="204086" cy="124021"/>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3" name="Freeform 75">
              <a:extLst>
                <a:ext uri="{FF2B5EF4-FFF2-40B4-BE49-F238E27FC236}">
                  <a16:creationId xmlns:a16="http://schemas.microsoft.com/office/drawing/2014/main" id="{66807991-852D-4021-8BD4-249531452575}"/>
                </a:ext>
              </a:extLst>
            </p:cNvPr>
            <p:cNvSpPr>
              <a:spLocks/>
            </p:cNvSpPr>
            <p:nvPr/>
          </p:nvSpPr>
          <p:spPr bwMode="auto">
            <a:xfrm>
              <a:off x="4166426" y="5720925"/>
              <a:ext cx="204086" cy="124021"/>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4" name="Rectangle 76">
              <a:extLst>
                <a:ext uri="{FF2B5EF4-FFF2-40B4-BE49-F238E27FC236}">
                  <a16:creationId xmlns:a16="http://schemas.microsoft.com/office/drawing/2014/main" id="{970542C6-AE3D-405E-AED3-3DCF81D35973}"/>
                </a:ext>
              </a:extLst>
            </p:cNvPr>
            <p:cNvSpPr>
              <a:spLocks noChangeArrowheads="1"/>
            </p:cNvSpPr>
            <p:nvPr/>
          </p:nvSpPr>
          <p:spPr bwMode="auto">
            <a:xfrm>
              <a:off x="4166426" y="5557656"/>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5" name="Rectangle 77">
              <a:extLst>
                <a:ext uri="{FF2B5EF4-FFF2-40B4-BE49-F238E27FC236}">
                  <a16:creationId xmlns:a16="http://schemas.microsoft.com/office/drawing/2014/main" id="{FFE4AEF7-773D-49C2-901E-BABE697B3162}"/>
                </a:ext>
              </a:extLst>
            </p:cNvPr>
            <p:cNvSpPr>
              <a:spLocks noChangeArrowheads="1"/>
            </p:cNvSpPr>
            <p:nvPr/>
          </p:nvSpPr>
          <p:spPr bwMode="auto">
            <a:xfrm>
              <a:off x="4166426" y="5557656"/>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6" name="Freeform 78">
              <a:extLst>
                <a:ext uri="{FF2B5EF4-FFF2-40B4-BE49-F238E27FC236}">
                  <a16:creationId xmlns:a16="http://schemas.microsoft.com/office/drawing/2014/main" id="{2B50DC99-4E49-4575-B2D0-9F3CB4D3F86A}"/>
                </a:ext>
              </a:extLst>
            </p:cNvPr>
            <p:cNvSpPr>
              <a:spLocks/>
            </p:cNvSpPr>
            <p:nvPr/>
          </p:nvSpPr>
          <p:spPr bwMode="auto">
            <a:xfrm>
              <a:off x="4166426" y="5884193"/>
              <a:ext cx="106753" cy="11460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7" name="Freeform 79">
              <a:extLst>
                <a:ext uri="{FF2B5EF4-FFF2-40B4-BE49-F238E27FC236}">
                  <a16:creationId xmlns:a16="http://schemas.microsoft.com/office/drawing/2014/main" id="{67DB6EAB-6D27-4AFA-A78D-968EF1A41015}"/>
                </a:ext>
              </a:extLst>
            </p:cNvPr>
            <p:cNvSpPr>
              <a:spLocks/>
            </p:cNvSpPr>
            <p:nvPr/>
          </p:nvSpPr>
          <p:spPr bwMode="auto">
            <a:xfrm>
              <a:off x="4166426" y="5884193"/>
              <a:ext cx="106753" cy="11460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8" name="Freeform 80">
              <a:extLst>
                <a:ext uri="{FF2B5EF4-FFF2-40B4-BE49-F238E27FC236}">
                  <a16:creationId xmlns:a16="http://schemas.microsoft.com/office/drawing/2014/main" id="{EB74BA14-EB30-4DAA-B9E5-8D28DB530F99}"/>
                </a:ext>
              </a:extLst>
            </p:cNvPr>
            <p:cNvSpPr>
              <a:spLocks/>
            </p:cNvSpPr>
            <p:nvPr/>
          </p:nvSpPr>
          <p:spPr bwMode="auto">
            <a:xfrm>
              <a:off x="4411329" y="5720925"/>
              <a:ext cx="12559" cy="1255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9" name="Freeform 81">
              <a:extLst>
                <a:ext uri="{FF2B5EF4-FFF2-40B4-BE49-F238E27FC236}">
                  <a16:creationId xmlns:a16="http://schemas.microsoft.com/office/drawing/2014/main" id="{DBFCA32B-86E1-4FB2-AA04-85DB8367AD63}"/>
                </a:ext>
              </a:extLst>
            </p:cNvPr>
            <p:cNvSpPr>
              <a:spLocks/>
            </p:cNvSpPr>
            <p:nvPr/>
          </p:nvSpPr>
          <p:spPr bwMode="auto">
            <a:xfrm>
              <a:off x="4411329" y="5720925"/>
              <a:ext cx="12559" cy="1255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0" name="Freeform 82">
              <a:extLst>
                <a:ext uri="{FF2B5EF4-FFF2-40B4-BE49-F238E27FC236}">
                  <a16:creationId xmlns:a16="http://schemas.microsoft.com/office/drawing/2014/main" id="{990DDCAC-9EC9-4D34-BC68-63729E609B2D}"/>
                </a:ext>
              </a:extLst>
            </p:cNvPr>
            <p:cNvSpPr>
              <a:spLocks/>
            </p:cNvSpPr>
            <p:nvPr/>
          </p:nvSpPr>
          <p:spPr bwMode="auto">
            <a:xfrm>
              <a:off x="4411329" y="5557656"/>
              <a:ext cx="163269" cy="122452"/>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1" name="Freeform 83">
              <a:extLst>
                <a:ext uri="{FF2B5EF4-FFF2-40B4-BE49-F238E27FC236}">
                  <a16:creationId xmlns:a16="http://schemas.microsoft.com/office/drawing/2014/main" id="{250905C3-2B9D-4169-9A14-FF7BFD492D0B}"/>
                </a:ext>
              </a:extLst>
            </p:cNvPr>
            <p:cNvSpPr>
              <a:spLocks/>
            </p:cNvSpPr>
            <p:nvPr/>
          </p:nvSpPr>
          <p:spPr bwMode="auto">
            <a:xfrm>
              <a:off x="4411329" y="5557656"/>
              <a:ext cx="163269" cy="122452"/>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2" name="Rectangle 84">
              <a:extLst>
                <a:ext uri="{FF2B5EF4-FFF2-40B4-BE49-F238E27FC236}">
                  <a16:creationId xmlns:a16="http://schemas.microsoft.com/office/drawing/2014/main" id="{654840DD-7574-4814-8BEC-4E731F27D2F3}"/>
                </a:ext>
              </a:extLst>
            </p:cNvPr>
            <p:cNvSpPr>
              <a:spLocks noChangeArrowheads="1"/>
            </p:cNvSpPr>
            <p:nvPr/>
          </p:nvSpPr>
          <p:spPr bwMode="auto">
            <a:xfrm>
              <a:off x="3923093" y="5557656"/>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3" name="Rectangle 85">
              <a:extLst>
                <a:ext uri="{FF2B5EF4-FFF2-40B4-BE49-F238E27FC236}">
                  <a16:creationId xmlns:a16="http://schemas.microsoft.com/office/drawing/2014/main" id="{B2CA48BA-33FC-457A-BE97-D2DA38FA2232}"/>
                </a:ext>
              </a:extLst>
            </p:cNvPr>
            <p:cNvSpPr>
              <a:spLocks noChangeArrowheads="1"/>
            </p:cNvSpPr>
            <p:nvPr/>
          </p:nvSpPr>
          <p:spPr bwMode="auto">
            <a:xfrm>
              <a:off x="3923093" y="5557656"/>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4" name="Rectangle 86">
              <a:extLst>
                <a:ext uri="{FF2B5EF4-FFF2-40B4-BE49-F238E27FC236}">
                  <a16:creationId xmlns:a16="http://schemas.microsoft.com/office/drawing/2014/main" id="{60ADDC9B-6763-42DF-B19D-643AE10705E3}"/>
                </a:ext>
              </a:extLst>
            </p:cNvPr>
            <p:cNvSpPr>
              <a:spLocks noChangeArrowheads="1"/>
            </p:cNvSpPr>
            <p:nvPr/>
          </p:nvSpPr>
          <p:spPr bwMode="auto">
            <a:xfrm>
              <a:off x="3923093" y="5720925"/>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5" name="Rectangle 87">
              <a:extLst>
                <a:ext uri="{FF2B5EF4-FFF2-40B4-BE49-F238E27FC236}">
                  <a16:creationId xmlns:a16="http://schemas.microsoft.com/office/drawing/2014/main" id="{F227AEC3-0202-4575-B385-CEB0BE071CD9}"/>
                </a:ext>
              </a:extLst>
            </p:cNvPr>
            <p:cNvSpPr>
              <a:spLocks noChangeArrowheads="1"/>
            </p:cNvSpPr>
            <p:nvPr/>
          </p:nvSpPr>
          <p:spPr bwMode="auto">
            <a:xfrm>
              <a:off x="3923093" y="5720925"/>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6" name="Rectangle 88">
              <a:extLst>
                <a:ext uri="{FF2B5EF4-FFF2-40B4-BE49-F238E27FC236}">
                  <a16:creationId xmlns:a16="http://schemas.microsoft.com/office/drawing/2014/main" id="{BE2C53CA-6759-443F-9B22-B09F921FA213}"/>
                </a:ext>
              </a:extLst>
            </p:cNvPr>
            <p:cNvSpPr>
              <a:spLocks noChangeArrowheads="1"/>
            </p:cNvSpPr>
            <p:nvPr/>
          </p:nvSpPr>
          <p:spPr bwMode="auto">
            <a:xfrm>
              <a:off x="3923093" y="5884193"/>
              <a:ext cx="204086" cy="124021"/>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7" name="Rectangle 89">
              <a:extLst>
                <a:ext uri="{FF2B5EF4-FFF2-40B4-BE49-F238E27FC236}">
                  <a16:creationId xmlns:a16="http://schemas.microsoft.com/office/drawing/2014/main" id="{B0983C4D-2A5C-403E-B94D-E1427F67DDC0}"/>
                </a:ext>
              </a:extLst>
            </p:cNvPr>
            <p:cNvSpPr>
              <a:spLocks noChangeArrowheads="1"/>
            </p:cNvSpPr>
            <p:nvPr/>
          </p:nvSpPr>
          <p:spPr bwMode="auto">
            <a:xfrm>
              <a:off x="3923093" y="5884193"/>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8" name="Freeform 90">
              <a:extLst>
                <a:ext uri="{FF2B5EF4-FFF2-40B4-BE49-F238E27FC236}">
                  <a16:creationId xmlns:a16="http://schemas.microsoft.com/office/drawing/2014/main" id="{465E18E3-D83B-445B-AB1D-A8E9490B6E0D}"/>
                </a:ext>
              </a:extLst>
            </p:cNvPr>
            <p:cNvSpPr>
              <a:spLocks/>
            </p:cNvSpPr>
            <p:nvPr/>
          </p:nvSpPr>
          <p:spPr bwMode="auto">
            <a:xfrm>
              <a:off x="3923093" y="6049032"/>
              <a:ext cx="199376" cy="120882"/>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9" name="Freeform 91">
              <a:extLst>
                <a:ext uri="{FF2B5EF4-FFF2-40B4-BE49-F238E27FC236}">
                  <a16:creationId xmlns:a16="http://schemas.microsoft.com/office/drawing/2014/main" id="{7F80D3D8-A54E-4D4C-829F-6111841CED29}"/>
                </a:ext>
              </a:extLst>
            </p:cNvPr>
            <p:cNvSpPr>
              <a:spLocks/>
            </p:cNvSpPr>
            <p:nvPr/>
          </p:nvSpPr>
          <p:spPr bwMode="auto">
            <a:xfrm>
              <a:off x="3923093" y="6049032"/>
              <a:ext cx="199376" cy="120882"/>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0" name="Rectangle 92">
              <a:extLst>
                <a:ext uri="{FF2B5EF4-FFF2-40B4-BE49-F238E27FC236}">
                  <a16:creationId xmlns:a16="http://schemas.microsoft.com/office/drawing/2014/main" id="{E4730C0D-B972-41B0-8820-0FD83DF8A51A}"/>
                </a:ext>
              </a:extLst>
            </p:cNvPr>
            <p:cNvSpPr>
              <a:spLocks noChangeArrowheads="1"/>
            </p:cNvSpPr>
            <p:nvPr/>
          </p:nvSpPr>
          <p:spPr bwMode="auto">
            <a:xfrm>
              <a:off x="4891716" y="4959527"/>
              <a:ext cx="1171139" cy="164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chemeClr val="bg1"/>
                  </a:solidFill>
                  <a:latin typeface="Segoe UI Semibold" panose="020B0702040204020203" pitchFamily="34" charset="0"/>
                </a:rPr>
                <a:t>RESOURCE GROUP</a:t>
              </a:r>
              <a:endParaRPr lang="en-US" altLang="en-US" sz="1377">
                <a:solidFill>
                  <a:schemeClr val="bg1"/>
                </a:solidFill>
              </a:endParaRPr>
            </a:p>
          </p:txBody>
        </p:sp>
        <p:sp>
          <p:nvSpPr>
            <p:cNvPr id="91" name="Freeform 97">
              <a:extLst>
                <a:ext uri="{FF2B5EF4-FFF2-40B4-BE49-F238E27FC236}">
                  <a16:creationId xmlns:a16="http://schemas.microsoft.com/office/drawing/2014/main" id="{3A5D308B-3202-4F75-A399-405C8F9DC0FA}"/>
                </a:ext>
              </a:extLst>
            </p:cNvPr>
            <p:cNvSpPr>
              <a:spLocks/>
            </p:cNvSpPr>
            <p:nvPr/>
          </p:nvSpPr>
          <p:spPr bwMode="auto">
            <a:xfrm>
              <a:off x="5281049" y="3678495"/>
              <a:ext cx="141290" cy="25118"/>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2" name="Freeform 98">
              <a:extLst>
                <a:ext uri="{FF2B5EF4-FFF2-40B4-BE49-F238E27FC236}">
                  <a16:creationId xmlns:a16="http://schemas.microsoft.com/office/drawing/2014/main" id="{EE79CFC8-8593-4172-A13B-49A04E8DE086}"/>
                </a:ext>
              </a:extLst>
            </p:cNvPr>
            <p:cNvSpPr>
              <a:spLocks/>
            </p:cNvSpPr>
            <p:nvPr/>
          </p:nvSpPr>
          <p:spPr bwMode="auto">
            <a:xfrm>
              <a:off x="5281049" y="3678495"/>
              <a:ext cx="43957" cy="25118"/>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3" name="Freeform 99">
              <a:extLst>
                <a:ext uri="{FF2B5EF4-FFF2-40B4-BE49-F238E27FC236}">
                  <a16:creationId xmlns:a16="http://schemas.microsoft.com/office/drawing/2014/main" id="{F4DE7940-9B73-4073-8E6F-44059093A667}"/>
                </a:ext>
              </a:extLst>
            </p:cNvPr>
            <p:cNvSpPr>
              <a:spLocks/>
            </p:cNvSpPr>
            <p:nvPr/>
          </p:nvSpPr>
          <p:spPr bwMode="auto">
            <a:xfrm>
              <a:off x="5345415" y="3678495"/>
              <a:ext cx="12559" cy="25118"/>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4" name="Freeform 100">
              <a:extLst>
                <a:ext uri="{FF2B5EF4-FFF2-40B4-BE49-F238E27FC236}">
                  <a16:creationId xmlns:a16="http://schemas.microsoft.com/office/drawing/2014/main" id="{92C77ADF-6F19-4EF0-95C5-D4F9AA82F28B}"/>
                </a:ext>
              </a:extLst>
            </p:cNvPr>
            <p:cNvSpPr>
              <a:spLocks/>
            </p:cNvSpPr>
            <p:nvPr/>
          </p:nvSpPr>
          <p:spPr bwMode="auto">
            <a:xfrm>
              <a:off x="5378383" y="3678495"/>
              <a:ext cx="43957" cy="25118"/>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5" name="Freeform 101">
              <a:extLst>
                <a:ext uri="{FF2B5EF4-FFF2-40B4-BE49-F238E27FC236}">
                  <a16:creationId xmlns:a16="http://schemas.microsoft.com/office/drawing/2014/main" id="{CFA49CDC-72B3-4ED3-8FCE-E4255FD87CF0}"/>
                </a:ext>
              </a:extLst>
            </p:cNvPr>
            <p:cNvSpPr>
              <a:spLocks/>
            </p:cNvSpPr>
            <p:nvPr/>
          </p:nvSpPr>
          <p:spPr bwMode="auto">
            <a:xfrm>
              <a:off x="5321866" y="3678495"/>
              <a:ext cx="25118" cy="25118"/>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6" name="Freeform 102">
              <a:extLst>
                <a:ext uri="{FF2B5EF4-FFF2-40B4-BE49-F238E27FC236}">
                  <a16:creationId xmlns:a16="http://schemas.microsoft.com/office/drawing/2014/main" id="{1EA6C107-EA42-4497-AE8F-5B2003156C0F}"/>
                </a:ext>
              </a:extLst>
            </p:cNvPr>
            <p:cNvSpPr>
              <a:spLocks/>
            </p:cNvSpPr>
            <p:nvPr/>
          </p:nvSpPr>
          <p:spPr bwMode="auto">
            <a:xfrm>
              <a:off x="5222963" y="3648667"/>
              <a:ext cx="119312" cy="86344"/>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7" name="Freeform 103">
              <a:extLst>
                <a:ext uri="{FF2B5EF4-FFF2-40B4-BE49-F238E27FC236}">
                  <a16:creationId xmlns:a16="http://schemas.microsoft.com/office/drawing/2014/main" id="{431655E4-0C46-4825-9D1C-DB2D888CDB93}"/>
                </a:ext>
              </a:extLst>
            </p:cNvPr>
            <p:cNvSpPr>
              <a:spLocks/>
            </p:cNvSpPr>
            <p:nvPr/>
          </p:nvSpPr>
          <p:spPr bwMode="auto">
            <a:xfrm>
              <a:off x="5356404" y="3678495"/>
              <a:ext cx="26688" cy="25118"/>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8" name="Freeform 104">
              <a:extLst>
                <a:ext uri="{FF2B5EF4-FFF2-40B4-BE49-F238E27FC236}">
                  <a16:creationId xmlns:a16="http://schemas.microsoft.com/office/drawing/2014/main" id="{3829D7E0-0C8C-4F7F-B5DF-5C53F59B93A0}"/>
                </a:ext>
              </a:extLst>
            </p:cNvPr>
            <p:cNvSpPr>
              <a:spLocks/>
            </p:cNvSpPr>
            <p:nvPr/>
          </p:nvSpPr>
          <p:spPr bwMode="auto">
            <a:xfrm>
              <a:off x="5362684" y="3648667"/>
              <a:ext cx="120882" cy="86344"/>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9" name="Freeform 105">
              <a:extLst>
                <a:ext uri="{FF2B5EF4-FFF2-40B4-BE49-F238E27FC236}">
                  <a16:creationId xmlns:a16="http://schemas.microsoft.com/office/drawing/2014/main" id="{7253A968-F94C-491D-950E-4DA5AAA7C4E9}"/>
                </a:ext>
              </a:extLst>
            </p:cNvPr>
            <p:cNvSpPr>
              <a:spLocks noEditPoints="1"/>
            </p:cNvSpPr>
            <p:nvPr/>
          </p:nvSpPr>
          <p:spPr bwMode="auto">
            <a:xfrm>
              <a:off x="5175866" y="3515226"/>
              <a:ext cx="353226" cy="35322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grpSp>
    </p:spTree>
    <p:extLst>
      <p:ext uri="{BB962C8B-B14F-4D97-AF65-F5344CB8AC3E}">
        <p14:creationId xmlns:p14="http://schemas.microsoft.com/office/powerpoint/2010/main" val="17418795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9" y="1212851"/>
            <a:ext cx="6142791" cy="5146024"/>
          </a:xfrm>
        </p:spPr>
        <p:txBody>
          <a:bodyPr/>
          <a:lstStyle/>
          <a:p>
            <a:pPr marL="0" indent="0">
              <a:buNone/>
            </a:pPr>
            <a:r>
              <a:rPr lang="en-US" sz="3200"/>
              <a:t>Manage resources as a single unit</a:t>
            </a:r>
            <a:br>
              <a:rPr lang="en-US" sz="3200"/>
            </a:br>
            <a:br>
              <a:rPr lang="en-US" sz="3200"/>
            </a:br>
            <a:r>
              <a:rPr lang="en-US" sz="3200"/>
              <a:t>Role-based access control (RBAC) on groups or resources</a:t>
            </a:r>
            <a:br>
              <a:rPr lang="en-US" sz="3200"/>
            </a:br>
            <a:endParaRPr lang="en-US" sz="3200"/>
          </a:p>
          <a:p>
            <a:pPr marL="0" indent="0">
              <a:buNone/>
            </a:pPr>
            <a:r>
              <a:rPr lang="en-US" sz="3200"/>
              <a:t>Billing integrated tagging on groups or resources</a:t>
            </a:r>
          </a:p>
          <a:p>
            <a:pPr lvl="1"/>
            <a:r>
              <a:rPr lang="en-US" sz="2000"/>
              <a:t>Container for multiple resources</a:t>
            </a:r>
          </a:p>
          <a:p>
            <a:pPr lvl="1"/>
            <a:r>
              <a:rPr lang="en-US" sz="2000"/>
              <a:t>IaaS + PaaS resources</a:t>
            </a:r>
          </a:p>
          <a:p>
            <a:pPr lvl="1"/>
            <a:r>
              <a:rPr lang="en-US" sz="2000"/>
              <a:t>Resources exist in one* resource group</a:t>
            </a:r>
          </a:p>
          <a:p>
            <a:pPr lvl="1"/>
            <a:r>
              <a:rPr lang="en-US" sz="2000"/>
              <a:t>Resource groups can span regions</a:t>
            </a:r>
          </a:p>
          <a:p>
            <a:pPr lvl="1"/>
            <a:r>
              <a:rPr lang="en-US" sz="2000"/>
              <a:t>Resource groups can span services</a:t>
            </a:r>
          </a:p>
        </p:txBody>
      </p:sp>
      <p:sp>
        <p:nvSpPr>
          <p:cNvPr id="3" name="Title 2"/>
          <p:cNvSpPr>
            <a:spLocks noGrp="1"/>
          </p:cNvSpPr>
          <p:nvPr>
            <p:ph type="title"/>
          </p:nvPr>
        </p:nvSpPr>
        <p:spPr/>
        <p:txBody>
          <a:bodyPr/>
          <a:lstStyle/>
          <a:p>
            <a:r>
              <a:rPr lang="en-US" dirty="0"/>
              <a:t>Resource groups (resource management (ARM))</a:t>
            </a:r>
          </a:p>
        </p:txBody>
      </p:sp>
      <p:sp>
        <p:nvSpPr>
          <p:cNvPr id="6" name="AutoShape 3"/>
          <p:cNvSpPr>
            <a:spLocks noChangeAspect="1" noChangeArrowheads="1" noTextEdit="1"/>
          </p:cNvSpPr>
          <p:nvPr/>
        </p:nvSpPr>
        <p:spPr bwMode="auto">
          <a:xfrm>
            <a:off x="6600014" y="1363662"/>
            <a:ext cx="4891783" cy="4671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 name="Freeform 5"/>
          <p:cNvSpPr>
            <a:spLocks/>
          </p:cNvSpPr>
          <p:nvPr/>
        </p:nvSpPr>
        <p:spPr bwMode="auto">
          <a:xfrm>
            <a:off x="6609433" y="1376221"/>
            <a:ext cx="4869805" cy="4650020"/>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 name="Freeform 6"/>
          <p:cNvSpPr>
            <a:spLocks/>
          </p:cNvSpPr>
          <p:nvPr/>
        </p:nvSpPr>
        <p:spPr bwMode="auto">
          <a:xfrm>
            <a:off x="6598444" y="1365232"/>
            <a:ext cx="4891783" cy="4671998"/>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 name="Freeform 7"/>
          <p:cNvSpPr>
            <a:spLocks/>
          </p:cNvSpPr>
          <p:nvPr/>
        </p:nvSpPr>
        <p:spPr bwMode="auto">
          <a:xfrm>
            <a:off x="7530960" y="2278909"/>
            <a:ext cx="3026752" cy="3025182"/>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 name="Freeform 8"/>
          <p:cNvSpPr>
            <a:spLocks/>
          </p:cNvSpPr>
          <p:nvPr/>
        </p:nvSpPr>
        <p:spPr bwMode="auto">
          <a:xfrm>
            <a:off x="9042766" y="2228672"/>
            <a:ext cx="125591" cy="139720"/>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1" name="Freeform 9"/>
          <p:cNvSpPr>
            <a:spLocks/>
          </p:cNvSpPr>
          <p:nvPr/>
        </p:nvSpPr>
        <p:spPr bwMode="auto">
          <a:xfrm>
            <a:off x="7537239" y="3283640"/>
            <a:ext cx="147570" cy="146000"/>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2" name="Freeform 10"/>
          <p:cNvSpPr>
            <a:spLocks/>
          </p:cNvSpPr>
          <p:nvPr/>
        </p:nvSpPr>
        <p:spPr bwMode="auto">
          <a:xfrm>
            <a:off x="7151046" y="2081103"/>
            <a:ext cx="1293591" cy="1142881"/>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3" name="Freeform 11"/>
          <p:cNvSpPr>
            <a:spLocks/>
          </p:cNvSpPr>
          <p:nvPr/>
        </p:nvSpPr>
        <p:spPr bwMode="auto">
          <a:xfrm>
            <a:off x="7151046" y="2081103"/>
            <a:ext cx="1293591" cy="1142881"/>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4" name="Freeform 12"/>
          <p:cNvSpPr>
            <a:spLocks/>
          </p:cNvSpPr>
          <p:nvPr/>
        </p:nvSpPr>
        <p:spPr bwMode="auto">
          <a:xfrm>
            <a:off x="7308035" y="2252221"/>
            <a:ext cx="155419" cy="41131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5" name="Freeform 13"/>
          <p:cNvSpPr>
            <a:spLocks/>
          </p:cNvSpPr>
          <p:nvPr/>
        </p:nvSpPr>
        <p:spPr bwMode="auto">
          <a:xfrm>
            <a:off x="7501132" y="2682371"/>
            <a:ext cx="769247" cy="381484"/>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6" name="Freeform 14"/>
          <p:cNvSpPr>
            <a:spLocks/>
          </p:cNvSpPr>
          <p:nvPr/>
        </p:nvSpPr>
        <p:spPr bwMode="auto">
          <a:xfrm>
            <a:off x="7807261" y="2393511"/>
            <a:ext cx="546322" cy="45840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7" name="Freeform 15"/>
          <p:cNvSpPr>
            <a:spLocks/>
          </p:cNvSpPr>
          <p:nvPr/>
        </p:nvSpPr>
        <p:spPr bwMode="auto">
          <a:xfrm>
            <a:off x="7545089" y="2106221"/>
            <a:ext cx="235484" cy="227634"/>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8" name="Freeform 16"/>
          <p:cNvSpPr>
            <a:spLocks/>
          </p:cNvSpPr>
          <p:nvPr/>
        </p:nvSpPr>
        <p:spPr bwMode="auto">
          <a:xfrm>
            <a:off x="7328444" y="2663532"/>
            <a:ext cx="172688" cy="434860"/>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9" name="Freeform 17"/>
          <p:cNvSpPr>
            <a:spLocks/>
          </p:cNvSpPr>
          <p:nvPr/>
        </p:nvSpPr>
        <p:spPr bwMode="auto">
          <a:xfrm>
            <a:off x="7406938" y="2333855"/>
            <a:ext cx="400322" cy="43800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0" name="Freeform 18"/>
          <p:cNvSpPr>
            <a:spLocks/>
          </p:cNvSpPr>
          <p:nvPr/>
        </p:nvSpPr>
        <p:spPr bwMode="auto">
          <a:xfrm>
            <a:off x="7698938" y="2198844"/>
            <a:ext cx="546322" cy="241763"/>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1" name="Freeform 19"/>
          <p:cNvSpPr>
            <a:spLocks/>
          </p:cNvSpPr>
          <p:nvPr/>
        </p:nvSpPr>
        <p:spPr bwMode="auto">
          <a:xfrm>
            <a:off x="7998788" y="2541081"/>
            <a:ext cx="277871" cy="276301"/>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2" name="Freeform 20"/>
          <p:cNvSpPr>
            <a:spLocks/>
          </p:cNvSpPr>
          <p:nvPr/>
        </p:nvSpPr>
        <p:spPr bwMode="auto">
          <a:xfrm>
            <a:off x="7750745" y="2848780"/>
            <a:ext cx="255892" cy="257462"/>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3" name="Freeform 21"/>
          <p:cNvSpPr>
            <a:spLocks/>
          </p:cNvSpPr>
          <p:nvPr/>
        </p:nvSpPr>
        <p:spPr bwMode="auto">
          <a:xfrm>
            <a:off x="7290766" y="2467296"/>
            <a:ext cx="390903" cy="390903"/>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4" name="Freeform 22"/>
          <p:cNvSpPr>
            <a:spLocks/>
          </p:cNvSpPr>
          <p:nvPr/>
        </p:nvSpPr>
        <p:spPr bwMode="auto">
          <a:xfrm>
            <a:off x="9774335" y="2242801"/>
            <a:ext cx="427011" cy="976473"/>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5" name="Freeform 23"/>
          <p:cNvSpPr>
            <a:spLocks/>
          </p:cNvSpPr>
          <p:nvPr/>
        </p:nvSpPr>
        <p:spPr bwMode="auto">
          <a:xfrm>
            <a:off x="10196636" y="2242801"/>
            <a:ext cx="431720" cy="976473"/>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6" name="Oval 24"/>
          <p:cNvSpPr>
            <a:spLocks noChangeArrowheads="1"/>
          </p:cNvSpPr>
          <p:nvPr/>
        </p:nvSpPr>
        <p:spPr bwMode="auto">
          <a:xfrm>
            <a:off x="9774335" y="2088952"/>
            <a:ext cx="854021" cy="3076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7" name="Oval 25"/>
          <p:cNvSpPr>
            <a:spLocks noChangeArrowheads="1"/>
          </p:cNvSpPr>
          <p:nvPr/>
        </p:nvSpPr>
        <p:spPr bwMode="auto">
          <a:xfrm>
            <a:off x="9860679" y="2129769"/>
            <a:ext cx="681333" cy="204086"/>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8" name="Freeform 26"/>
          <p:cNvSpPr>
            <a:spLocks/>
          </p:cNvSpPr>
          <p:nvPr/>
        </p:nvSpPr>
        <p:spPr bwMode="auto">
          <a:xfrm>
            <a:off x="9860679" y="2129769"/>
            <a:ext cx="681333" cy="166409"/>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9" name="Freeform 27"/>
          <p:cNvSpPr>
            <a:spLocks noEditPoints="1"/>
          </p:cNvSpPr>
          <p:nvPr/>
        </p:nvSpPr>
        <p:spPr bwMode="auto">
          <a:xfrm>
            <a:off x="9890507" y="2588178"/>
            <a:ext cx="621677" cy="350086"/>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0" name="Freeform 28"/>
          <p:cNvSpPr>
            <a:spLocks/>
          </p:cNvSpPr>
          <p:nvPr/>
        </p:nvSpPr>
        <p:spPr bwMode="auto">
          <a:xfrm>
            <a:off x="9969002" y="2650973"/>
            <a:ext cx="149140" cy="222925"/>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1" name="Freeform 29"/>
          <p:cNvSpPr>
            <a:spLocks/>
          </p:cNvSpPr>
          <p:nvPr/>
        </p:nvSpPr>
        <p:spPr bwMode="auto">
          <a:xfrm>
            <a:off x="10328507" y="2644694"/>
            <a:ext cx="86344" cy="83204"/>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2" name="Freeform 30"/>
          <p:cNvSpPr>
            <a:spLocks/>
          </p:cNvSpPr>
          <p:nvPr/>
        </p:nvSpPr>
        <p:spPr bwMode="auto">
          <a:xfrm>
            <a:off x="10326937" y="2787554"/>
            <a:ext cx="102043" cy="91054"/>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3" name="Freeform 31"/>
          <p:cNvSpPr>
            <a:spLocks/>
          </p:cNvSpPr>
          <p:nvPr/>
        </p:nvSpPr>
        <p:spPr bwMode="auto">
          <a:xfrm>
            <a:off x="9824572" y="4732650"/>
            <a:ext cx="751978" cy="219785"/>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4" name="Freeform 32"/>
          <p:cNvSpPr>
            <a:spLocks noEditPoints="1"/>
          </p:cNvSpPr>
          <p:nvPr/>
        </p:nvSpPr>
        <p:spPr bwMode="auto">
          <a:xfrm>
            <a:off x="9626765" y="3891188"/>
            <a:ext cx="1150731" cy="841462"/>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5" name="Freeform 33"/>
          <p:cNvSpPr>
            <a:spLocks/>
          </p:cNvSpPr>
          <p:nvPr/>
        </p:nvSpPr>
        <p:spPr bwMode="auto">
          <a:xfrm>
            <a:off x="9713109" y="3979102"/>
            <a:ext cx="974903" cy="664064"/>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6" name="Freeform 34"/>
          <p:cNvSpPr>
            <a:spLocks/>
          </p:cNvSpPr>
          <p:nvPr/>
        </p:nvSpPr>
        <p:spPr bwMode="auto">
          <a:xfrm>
            <a:off x="9713109" y="3979102"/>
            <a:ext cx="974903" cy="664064"/>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7" name="Freeform 35"/>
          <p:cNvSpPr>
            <a:spLocks/>
          </p:cNvSpPr>
          <p:nvPr/>
        </p:nvSpPr>
        <p:spPr bwMode="auto">
          <a:xfrm>
            <a:off x="9626765" y="3891188"/>
            <a:ext cx="1080086" cy="841462"/>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8" name="Freeform 36"/>
          <p:cNvSpPr>
            <a:spLocks/>
          </p:cNvSpPr>
          <p:nvPr/>
        </p:nvSpPr>
        <p:spPr bwMode="auto">
          <a:xfrm>
            <a:off x="9713109" y="3979102"/>
            <a:ext cx="891699" cy="664064"/>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9" name="Rectangle 37"/>
          <p:cNvSpPr>
            <a:spLocks noChangeArrowheads="1"/>
          </p:cNvSpPr>
          <p:nvPr/>
        </p:nvSpPr>
        <p:spPr bwMode="auto">
          <a:xfrm>
            <a:off x="9824572" y="4883359"/>
            <a:ext cx="751978" cy="6907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0" name="Oval 38"/>
          <p:cNvSpPr>
            <a:spLocks noChangeArrowheads="1"/>
          </p:cNvSpPr>
          <p:nvPr/>
        </p:nvSpPr>
        <p:spPr bwMode="auto">
          <a:xfrm>
            <a:off x="10180937" y="3922586"/>
            <a:ext cx="31398" cy="32968"/>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1" name="Freeform 39"/>
          <p:cNvSpPr>
            <a:spLocks/>
          </p:cNvSpPr>
          <p:nvPr/>
        </p:nvSpPr>
        <p:spPr bwMode="auto">
          <a:xfrm>
            <a:off x="9992550" y="4056027"/>
            <a:ext cx="414451" cy="243333"/>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2" name="Freeform 40"/>
          <p:cNvSpPr>
            <a:spLocks/>
          </p:cNvSpPr>
          <p:nvPr/>
        </p:nvSpPr>
        <p:spPr bwMode="auto">
          <a:xfrm>
            <a:off x="9964292" y="4220865"/>
            <a:ext cx="213505" cy="364215"/>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3" name="Freeform 41"/>
          <p:cNvSpPr>
            <a:spLocks/>
          </p:cNvSpPr>
          <p:nvPr/>
        </p:nvSpPr>
        <p:spPr bwMode="auto">
          <a:xfrm>
            <a:off x="10223324" y="4222435"/>
            <a:ext cx="213505" cy="362645"/>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4" name="Freeform 42"/>
          <p:cNvSpPr>
            <a:spLocks/>
          </p:cNvSpPr>
          <p:nvPr/>
        </p:nvSpPr>
        <p:spPr bwMode="auto">
          <a:xfrm>
            <a:off x="7246809" y="4120392"/>
            <a:ext cx="1102064" cy="772387"/>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5" name="Freeform 43"/>
          <p:cNvSpPr>
            <a:spLocks/>
          </p:cNvSpPr>
          <p:nvPr/>
        </p:nvSpPr>
        <p:spPr bwMode="auto">
          <a:xfrm>
            <a:off x="7246809" y="3952414"/>
            <a:ext cx="1102064" cy="167978"/>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6" name="Rectangle 44"/>
          <p:cNvSpPr>
            <a:spLocks noChangeArrowheads="1"/>
          </p:cNvSpPr>
          <p:nvPr/>
        </p:nvSpPr>
        <p:spPr bwMode="auto">
          <a:xfrm>
            <a:off x="7571777" y="4360586"/>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7" name="Rectangle 45"/>
          <p:cNvSpPr>
            <a:spLocks noChangeArrowheads="1"/>
          </p:cNvSpPr>
          <p:nvPr/>
        </p:nvSpPr>
        <p:spPr bwMode="auto">
          <a:xfrm>
            <a:off x="7571777" y="4360586"/>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8" name="Rectangle 46"/>
          <p:cNvSpPr>
            <a:spLocks noChangeArrowheads="1"/>
          </p:cNvSpPr>
          <p:nvPr/>
        </p:nvSpPr>
        <p:spPr bwMode="auto">
          <a:xfrm>
            <a:off x="7571777" y="4197317"/>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9" name="Rectangle 47"/>
          <p:cNvSpPr>
            <a:spLocks noChangeArrowheads="1"/>
          </p:cNvSpPr>
          <p:nvPr/>
        </p:nvSpPr>
        <p:spPr bwMode="auto">
          <a:xfrm>
            <a:off x="7571777" y="4197317"/>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0" name="Rectangle 48"/>
          <p:cNvSpPr>
            <a:spLocks noChangeArrowheads="1"/>
          </p:cNvSpPr>
          <p:nvPr/>
        </p:nvSpPr>
        <p:spPr bwMode="auto">
          <a:xfrm>
            <a:off x="7571777" y="4523854"/>
            <a:ext cx="204086" cy="12402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1" name="Rectangle 49"/>
          <p:cNvSpPr>
            <a:spLocks noChangeArrowheads="1"/>
          </p:cNvSpPr>
          <p:nvPr/>
        </p:nvSpPr>
        <p:spPr bwMode="auto">
          <a:xfrm>
            <a:off x="7571777" y="4523854"/>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2" name="Rectangle 50"/>
          <p:cNvSpPr>
            <a:spLocks noChangeArrowheads="1"/>
          </p:cNvSpPr>
          <p:nvPr/>
        </p:nvSpPr>
        <p:spPr bwMode="auto">
          <a:xfrm>
            <a:off x="7816680" y="4523854"/>
            <a:ext cx="204086" cy="12402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3" name="Rectangle 51"/>
          <p:cNvSpPr>
            <a:spLocks noChangeArrowheads="1"/>
          </p:cNvSpPr>
          <p:nvPr/>
        </p:nvSpPr>
        <p:spPr bwMode="auto">
          <a:xfrm>
            <a:off x="7816680" y="4360586"/>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4" name="Rectangle 52"/>
          <p:cNvSpPr>
            <a:spLocks noChangeArrowheads="1"/>
          </p:cNvSpPr>
          <p:nvPr/>
        </p:nvSpPr>
        <p:spPr bwMode="auto">
          <a:xfrm>
            <a:off x="7816680" y="4360586"/>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5" name="Rectangle 53"/>
          <p:cNvSpPr>
            <a:spLocks noChangeArrowheads="1"/>
          </p:cNvSpPr>
          <p:nvPr/>
        </p:nvSpPr>
        <p:spPr bwMode="auto">
          <a:xfrm>
            <a:off x="7816680" y="4197317"/>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6" name="Rectangle 54"/>
          <p:cNvSpPr>
            <a:spLocks noChangeArrowheads="1"/>
          </p:cNvSpPr>
          <p:nvPr/>
        </p:nvSpPr>
        <p:spPr bwMode="auto">
          <a:xfrm>
            <a:off x="7816680" y="4197317"/>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7" name="Rectangle 55"/>
          <p:cNvSpPr>
            <a:spLocks noChangeArrowheads="1"/>
          </p:cNvSpPr>
          <p:nvPr/>
        </p:nvSpPr>
        <p:spPr bwMode="auto">
          <a:xfrm>
            <a:off x="7328444" y="4197317"/>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8" name="Rectangle 56"/>
          <p:cNvSpPr>
            <a:spLocks noChangeArrowheads="1"/>
          </p:cNvSpPr>
          <p:nvPr/>
        </p:nvSpPr>
        <p:spPr bwMode="auto">
          <a:xfrm>
            <a:off x="7328444" y="4197317"/>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9" name="Rectangle 57"/>
          <p:cNvSpPr>
            <a:spLocks noChangeArrowheads="1"/>
          </p:cNvSpPr>
          <p:nvPr/>
        </p:nvSpPr>
        <p:spPr bwMode="auto">
          <a:xfrm>
            <a:off x="7328444" y="4360586"/>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0" name="Rectangle 58"/>
          <p:cNvSpPr>
            <a:spLocks noChangeArrowheads="1"/>
          </p:cNvSpPr>
          <p:nvPr/>
        </p:nvSpPr>
        <p:spPr bwMode="auto">
          <a:xfrm>
            <a:off x="7328444" y="4360586"/>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1" name="Rectangle 59"/>
          <p:cNvSpPr>
            <a:spLocks noChangeArrowheads="1"/>
          </p:cNvSpPr>
          <p:nvPr/>
        </p:nvSpPr>
        <p:spPr bwMode="auto">
          <a:xfrm>
            <a:off x="7328444" y="4523854"/>
            <a:ext cx="204086" cy="12402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2" name="Rectangle 60"/>
          <p:cNvSpPr>
            <a:spLocks noChangeArrowheads="1"/>
          </p:cNvSpPr>
          <p:nvPr/>
        </p:nvSpPr>
        <p:spPr bwMode="auto">
          <a:xfrm>
            <a:off x="7328444" y="4523854"/>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3" name="Rectangle 61"/>
          <p:cNvSpPr>
            <a:spLocks noChangeArrowheads="1"/>
          </p:cNvSpPr>
          <p:nvPr/>
        </p:nvSpPr>
        <p:spPr bwMode="auto">
          <a:xfrm>
            <a:off x="7328444" y="4688693"/>
            <a:ext cx="204086" cy="12088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4" name="Rectangle 62"/>
          <p:cNvSpPr>
            <a:spLocks noChangeArrowheads="1"/>
          </p:cNvSpPr>
          <p:nvPr/>
        </p:nvSpPr>
        <p:spPr bwMode="auto">
          <a:xfrm>
            <a:off x="7328444" y="4688693"/>
            <a:ext cx="204086" cy="120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5" name="Rectangle 63"/>
          <p:cNvSpPr>
            <a:spLocks noChangeArrowheads="1"/>
          </p:cNvSpPr>
          <p:nvPr/>
        </p:nvSpPr>
        <p:spPr bwMode="auto">
          <a:xfrm>
            <a:off x="7571777" y="4688693"/>
            <a:ext cx="204086" cy="12088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6" name="Rectangle 64"/>
          <p:cNvSpPr>
            <a:spLocks noChangeArrowheads="1"/>
          </p:cNvSpPr>
          <p:nvPr/>
        </p:nvSpPr>
        <p:spPr bwMode="auto">
          <a:xfrm>
            <a:off x="7816680" y="4688693"/>
            <a:ext cx="204086" cy="12088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7" name="Rectangle 65"/>
          <p:cNvSpPr>
            <a:spLocks noChangeArrowheads="1"/>
          </p:cNvSpPr>
          <p:nvPr/>
        </p:nvSpPr>
        <p:spPr bwMode="auto">
          <a:xfrm>
            <a:off x="8063153" y="4523854"/>
            <a:ext cx="204086" cy="12402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8" name="Rectangle 66"/>
          <p:cNvSpPr>
            <a:spLocks noChangeArrowheads="1"/>
          </p:cNvSpPr>
          <p:nvPr/>
        </p:nvSpPr>
        <p:spPr bwMode="auto">
          <a:xfrm>
            <a:off x="8063153" y="4360586"/>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9" name="Rectangle 67"/>
          <p:cNvSpPr>
            <a:spLocks noChangeArrowheads="1"/>
          </p:cNvSpPr>
          <p:nvPr/>
        </p:nvSpPr>
        <p:spPr bwMode="auto">
          <a:xfrm>
            <a:off x="8063153" y="4197317"/>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0" name="Rectangle 68"/>
          <p:cNvSpPr>
            <a:spLocks noChangeArrowheads="1"/>
          </p:cNvSpPr>
          <p:nvPr/>
        </p:nvSpPr>
        <p:spPr bwMode="auto">
          <a:xfrm>
            <a:off x="8063153" y="4688693"/>
            <a:ext cx="204086" cy="12088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1" name="Freeform 69"/>
          <p:cNvSpPr>
            <a:spLocks noEditPoints="1"/>
          </p:cNvSpPr>
          <p:nvPr/>
        </p:nvSpPr>
        <p:spPr bwMode="auto">
          <a:xfrm>
            <a:off x="7281347" y="3952414"/>
            <a:ext cx="927806"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2" name="Freeform 70"/>
          <p:cNvSpPr>
            <a:spLocks/>
          </p:cNvSpPr>
          <p:nvPr/>
        </p:nvSpPr>
        <p:spPr bwMode="auto">
          <a:xfrm>
            <a:off x="7538809" y="3952414"/>
            <a:ext cx="36108"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3" name="Freeform 71"/>
          <p:cNvSpPr>
            <a:spLocks/>
          </p:cNvSpPr>
          <p:nvPr/>
        </p:nvSpPr>
        <p:spPr bwMode="auto">
          <a:xfrm>
            <a:off x="7284487" y="4892779"/>
            <a:ext cx="54946"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4" name="Freeform 72"/>
          <p:cNvSpPr>
            <a:spLocks noEditPoints="1"/>
          </p:cNvSpPr>
          <p:nvPr/>
        </p:nvSpPr>
        <p:spPr bwMode="auto">
          <a:xfrm>
            <a:off x="7246809" y="4120392"/>
            <a:ext cx="805355" cy="772387"/>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5" name="Freeform 73"/>
          <p:cNvSpPr>
            <a:spLocks/>
          </p:cNvSpPr>
          <p:nvPr/>
        </p:nvSpPr>
        <p:spPr bwMode="auto">
          <a:xfrm>
            <a:off x="7246809" y="3952414"/>
            <a:ext cx="959204" cy="167978"/>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6" name="Freeform 74"/>
          <p:cNvSpPr>
            <a:spLocks/>
          </p:cNvSpPr>
          <p:nvPr/>
        </p:nvSpPr>
        <p:spPr bwMode="auto">
          <a:xfrm>
            <a:off x="7571777" y="4360586"/>
            <a:ext cx="204086" cy="124021"/>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7" name="Freeform 75"/>
          <p:cNvSpPr>
            <a:spLocks/>
          </p:cNvSpPr>
          <p:nvPr/>
        </p:nvSpPr>
        <p:spPr bwMode="auto">
          <a:xfrm>
            <a:off x="7571777" y="4360586"/>
            <a:ext cx="204086" cy="124021"/>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8" name="Rectangle 76"/>
          <p:cNvSpPr>
            <a:spLocks noChangeArrowheads="1"/>
          </p:cNvSpPr>
          <p:nvPr/>
        </p:nvSpPr>
        <p:spPr bwMode="auto">
          <a:xfrm>
            <a:off x="7571777" y="4197317"/>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9" name="Rectangle 77"/>
          <p:cNvSpPr>
            <a:spLocks noChangeArrowheads="1"/>
          </p:cNvSpPr>
          <p:nvPr/>
        </p:nvSpPr>
        <p:spPr bwMode="auto">
          <a:xfrm>
            <a:off x="7571777" y="4197317"/>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0" name="Freeform 78"/>
          <p:cNvSpPr>
            <a:spLocks/>
          </p:cNvSpPr>
          <p:nvPr/>
        </p:nvSpPr>
        <p:spPr bwMode="auto">
          <a:xfrm>
            <a:off x="7571777" y="4523854"/>
            <a:ext cx="106753" cy="11460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1" name="Freeform 79"/>
          <p:cNvSpPr>
            <a:spLocks/>
          </p:cNvSpPr>
          <p:nvPr/>
        </p:nvSpPr>
        <p:spPr bwMode="auto">
          <a:xfrm>
            <a:off x="7571777" y="4523854"/>
            <a:ext cx="106753" cy="11460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2" name="Freeform 80"/>
          <p:cNvSpPr>
            <a:spLocks/>
          </p:cNvSpPr>
          <p:nvPr/>
        </p:nvSpPr>
        <p:spPr bwMode="auto">
          <a:xfrm>
            <a:off x="7816680" y="4360586"/>
            <a:ext cx="12559" cy="1255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3" name="Freeform 81"/>
          <p:cNvSpPr>
            <a:spLocks/>
          </p:cNvSpPr>
          <p:nvPr/>
        </p:nvSpPr>
        <p:spPr bwMode="auto">
          <a:xfrm>
            <a:off x="7816680" y="4360586"/>
            <a:ext cx="12559" cy="1255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4" name="Freeform 82"/>
          <p:cNvSpPr>
            <a:spLocks/>
          </p:cNvSpPr>
          <p:nvPr/>
        </p:nvSpPr>
        <p:spPr bwMode="auto">
          <a:xfrm>
            <a:off x="7816680" y="4197317"/>
            <a:ext cx="163269" cy="122452"/>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5" name="Freeform 83"/>
          <p:cNvSpPr>
            <a:spLocks/>
          </p:cNvSpPr>
          <p:nvPr/>
        </p:nvSpPr>
        <p:spPr bwMode="auto">
          <a:xfrm>
            <a:off x="7816680" y="4197317"/>
            <a:ext cx="163269" cy="122452"/>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6" name="Rectangle 84"/>
          <p:cNvSpPr>
            <a:spLocks noChangeArrowheads="1"/>
          </p:cNvSpPr>
          <p:nvPr/>
        </p:nvSpPr>
        <p:spPr bwMode="auto">
          <a:xfrm>
            <a:off x="7328444" y="4197317"/>
            <a:ext cx="204086" cy="12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7" name="Rectangle 85"/>
          <p:cNvSpPr>
            <a:spLocks noChangeArrowheads="1"/>
          </p:cNvSpPr>
          <p:nvPr/>
        </p:nvSpPr>
        <p:spPr bwMode="auto">
          <a:xfrm>
            <a:off x="7328444" y="4197317"/>
            <a:ext cx="204086" cy="122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8" name="Rectangle 86"/>
          <p:cNvSpPr>
            <a:spLocks noChangeArrowheads="1"/>
          </p:cNvSpPr>
          <p:nvPr/>
        </p:nvSpPr>
        <p:spPr bwMode="auto">
          <a:xfrm>
            <a:off x="7328444" y="4360586"/>
            <a:ext cx="204086" cy="1240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9" name="Rectangle 87"/>
          <p:cNvSpPr>
            <a:spLocks noChangeArrowheads="1"/>
          </p:cNvSpPr>
          <p:nvPr/>
        </p:nvSpPr>
        <p:spPr bwMode="auto">
          <a:xfrm>
            <a:off x="7328444" y="4360586"/>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0" name="Rectangle 88"/>
          <p:cNvSpPr>
            <a:spLocks noChangeArrowheads="1"/>
          </p:cNvSpPr>
          <p:nvPr/>
        </p:nvSpPr>
        <p:spPr bwMode="auto">
          <a:xfrm>
            <a:off x="7328444" y="4523854"/>
            <a:ext cx="204086" cy="124021"/>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1" name="Rectangle 89"/>
          <p:cNvSpPr>
            <a:spLocks noChangeArrowheads="1"/>
          </p:cNvSpPr>
          <p:nvPr/>
        </p:nvSpPr>
        <p:spPr bwMode="auto">
          <a:xfrm>
            <a:off x="7328444" y="4523854"/>
            <a:ext cx="204086" cy="124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2" name="Freeform 90"/>
          <p:cNvSpPr>
            <a:spLocks/>
          </p:cNvSpPr>
          <p:nvPr/>
        </p:nvSpPr>
        <p:spPr bwMode="auto">
          <a:xfrm>
            <a:off x="7328444" y="4688693"/>
            <a:ext cx="199376" cy="120882"/>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3" name="Freeform 91"/>
          <p:cNvSpPr>
            <a:spLocks/>
          </p:cNvSpPr>
          <p:nvPr/>
        </p:nvSpPr>
        <p:spPr bwMode="auto">
          <a:xfrm>
            <a:off x="7328444" y="4688693"/>
            <a:ext cx="199376" cy="120882"/>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4" name="Rectangle 92"/>
          <p:cNvSpPr>
            <a:spLocks noChangeArrowheads="1"/>
          </p:cNvSpPr>
          <p:nvPr/>
        </p:nvSpPr>
        <p:spPr bwMode="auto">
          <a:xfrm>
            <a:off x="8297067" y="3599188"/>
            <a:ext cx="1171139" cy="164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chemeClr val="bg1"/>
                </a:solidFill>
                <a:latin typeface="Segoe UI Semibold" panose="020B0702040204020203" pitchFamily="34" charset="0"/>
              </a:rPr>
              <a:t>RESOURCE GROUP</a:t>
            </a:r>
            <a:endParaRPr lang="en-US" altLang="en-US" sz="1377">
              <a:solidFill>
                <a:schemeClr val="bg1"/>
              </a:solidFill>
            </a:endParaRPr>
          </a:p>
        </p:txBody>
      </p:sp>
      <p:sp>
        <p:nvSpPr>
          <p:cNvPr id="95" name="Freeform 97"/>
          <p:cNvSpPr>
            <a:spLocks/>
          </p:cNvSpPr>
          <p:nvPr/>
        </p:nvSpPr>
        <p:spPr bwMode="auto">
          <a:xfrm>
            <a:off x="8686400" y="2318156"/>
            <a:ext cx="141290" cy="25118"/>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6" name="Freeform 98"/>
          <p:cNvSpPr>
            <a:spLocks/>
          </p:cNvSpPr>
          <p:nvPr/>
        </p:nvSpPr>
        <p:spPr bwMode="auto">
          <a:xfrm>
            <a:off x="8686400" y="2318156"/>
            <a:ext cx="43957" cy="25118"/>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7" name="Freeform 99"/>
          <p:cNvSpPr>
            <a:spLocks/>
          </p:cNvSpPr>
          <p:nvPr/>
        </p:nvSpPr>
        <p:spPr bwMode="auto">
          <a:xfrm>
            <a:off x="8750766" y="2318156"/>
            <a:ext cx="12559" cy="25118"/>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8" name="Freeform 100"/>
          <p:cNvSpPr>
            <a:spLocks/>
          </p:cNvSpPr>
          <p:nvPr/>
        </p:nvSpPr>
        <p:spPr bwMode="auto">
          <a:xfrm>
            <a:off x="8783734" y="2318156"/>
            <a:ext cx="43957" cy="25118"/>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9" name="Freeform 101"/>
          <p:cNvSpPr>
            <a:spLocks/>
          </p:cNvSpPr>
          <p:nvPr/>
        </p:nvSpPr>
        <p:spPr bwMode="auto">
          <a:xfrm>
            <a:off x="8727217" y="2318156"/>
            <a:ext cx="25118" cy="25118"/>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0" name="Freeform 102"/>
          <p:cNvSpPr>
            <a:spLocks/>
          </p:cNvSpPr>
          <p:nvPr/>
        </p:nvSpPr>
        <p:spPr bwMode="auto">
          <a:xfrm>
            <a:off x="8628314" y="2288328"/>
            <a:ext cx="119312" cy="86344"/>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1" name="Freeform 103"/>
          <p:cNvSpPr>
            <a:spLocks/>
          </p:cNvSpPr>
          <p:nvPr/>
        </p:nvSpPr>
        <p:spPr bwMode="auto">
          <a:xfrm>
            <a:off x="8761755" y="2318156"/>
            <a:ext cx="26688" cy="25118"/>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2" name="Freeform 104"/>
          <p:cNvSpPr>
            <a:spLocks/>
          </p:cNvSpPr>
          <p:nvPr/>
        </p:nvSpPr>
        <p:spPr bwMode="auto">
          <a:xfrm>
            <a:off x="8768035" y="2288328"/>
            <a:ext cx="120882" cy="86344"/>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3" name="Freeform 105"/>
          <p:cNvSpPr>
            <a:spLocks noEditPoints="1"/>
          </p:cNvSpPr>
          <p:nvPr/>
        </p:nvSpPr>
        <p:spPr bwMode="auto">
          <a:xfrm>
            <a:off x="8581217" y="2154887"/>
            <a:ext cx="353226" cy="35322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Tree>
    <p:extLst>
      <p:ext uri="{BB962C8B-B14F-4D97-AF65-F5344CB8AC3E}">
        <p14:creationId xmlns:p14="http://schemas.microsoft.com/office/powerpoint/2010/main" val="1323493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4" name="Title 3"/>
          <p:cNvSpPr txBox="1">
            <a:spLocks/>
          </p:cNvSpPr>
          <p:nvPr/>
        </p:nvSpPr>
        <p:spPr>
          <a:xfrm>
            <a:off x="366169" y="2659062"/>
            <a:ext cx="11690437" cy="2012859"/>
          </a:xfrm>
          <a:prstGeom prst="rect">
            <a:avLst/>
          </a:prstGeom>
          <a:noFill/>
        </p:spPr>
        <p:txBody>
          <a:bodyPr vert="horz" wrap="square" lIns="146304" tIns="91440" rIns="146304" bIns="91440" rtlCol="0" anchor="t" anchorCtr="0">
            <a:spAutoFit/>
          </a:bodyPr>
          <a:lstStyle>
            <a:lvl1pPr algn="l" defTabSz="932649" rtl="0" eaLnBrk="1" latinLnBrk="0" hangingPunct="1">
              <a:lnSpc>
                <a:spcPct val="90000"/>
              </a:lnSpc>
              <a:spcBef>
                <a:spcPct val="0"/>
              </a:spcBef>
              <a:buNone/>
              <a:defRPr lang="en-US" sz="7199"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lvl="0"/>
            <a:r>
              <a:rPr lang="en-CA" sz="6600">
                <a:gradFill>
                  <a:gsLst>
                    <a:gs pos="100000">
                      <a:srgbClr val="FFFFFF"/>
                    </a:gs>
                    <a:gs pos="0">
                      <a:srgbClr val="FFFFFF"/>
                    </a:gs>
                  </a:gsLst>
                  <a:lin ang="5400000" scaled="0"/>
                </a:gradFill>
              </a:rPr>
              <a:t>Azure Infrastructure-as-a-Service overview</a:t>
            </a:r>
            <a:endParaRPr kumimoji="0" lang="en-CA" sz="7199" b="0" i="0" u="none" strike="noStrike" kern="1200" cap="none" spc="-100" normalizeH="0" baseline="0" noProof="0">
              <a:ln w="3175">
                <a:noFill/>
              </a:ln>
              <a:gradFill>
                <a:gsLst>
                  <a:gs pos="100000">
                    <a:srgbClr val="FFFFFF"/>
                  </a:gs>
                  <a:gs pos="0">
                    <a:srgbClr val="FFFFFF"/>
                  </a:gs>
                </a:gsLst>
                <a:lin ang="5400000" scaled="0"/>
              </a:gradFill>
              <a:effectLst/>
              <a:uLnTx/>
              <a:uFillTx/>
              <a:latin typeface="Segoe UI Light"/>
              <a:ea typeface="+mn-ea"/>
              <a:cs typeface="Segoe UI" pitchFamily="34" charset="0"/>
            </a:endParaRPr>
          </a:p>
        </p:txBody>
      </p:sp>
      <p:pic>
        <p:nvPicPr>
          <p:cNvPr id="2" name="Picture 1">
            <a:extLst>
              <a:ext uri="{FF2B5EF4-FFF2-40B4-BE49-F238E27FC236}">
                <a16:creationId xmlns:a16="http://schemas.microsoft.com/office/drawing/2014/main" id="{64AF1C59-DB98-44BE-B4E8-00D80122ED88}"/>
              </a:ext>
            </a:extLst>
          </p:cNvPr>
          <p:cNvPicPr>
            <a:picLocks noChangeAspect="1"/>
          </p:cNvPicPr>
          <p:nvPr/>
        </p:nvPicPr>
        <p:blipFill>
          <a:blip r:embed="rId3"/>
          <a:stretch>
            <a:fillRect/>
          </a:stretch>
        </p:blipFill>
        <p:spPr>
          <a:xfrm>
            <a:off x="5448822" y="3928402"/>
            <a:ext cx="1341942" cy="2588030"/>
          </a:xfrm>
          <a:prstGeom prst="rect">
            <a:avLst/>
          </a:prstGeom>
        </p:spPr>
      </p:pic>
    </p:spTree>
    <p:extLst>
      <p:ext uri="{BB962C8B-B14F-4D97-AF65-F5344CB8AC3E}">
        <p14:creationId xmlns:p14="http://schemas.microsoft.com/office/powerpoint/2010/main" val="61229875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2788445" y="1744662"/>
            <a:ext cx="6857417" cy="215375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t"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Single resource group</a:t>
            </a:r>
          </a:p>
        </p:txBody>
      </p:sp>
      <p:sp>
        <p:nvSpPr>
          <p:cNvPr id="3" name="Title 2"/>
          <p:cNvSpPr>
            <a:spLocks noGrp="1"/>
          </p:cNvSpPr>
          <p:nvPr>
            <p:ph type="title"/>
          </p:nvPr>
        </p:nvSpPr>
        <p:spPr/>
        <p:txBody>
          <a:bodyPr/>
          <a:lstStyle/>
          <a:p>
            <a:r>
              <a:rPr lang="en-US" sz="4800"/>
              <a:t>Single vs. multiple resource groups</a:t>
            </a:r>
          </a:p>
        </p:txBody>
      </p:sp>
      <p:sp>
        <p:nvSpPr>
          <p:cNvPr id="13" name="Oval 12"/>
          <p:cNvSpPr/>
          <p:nvPr/>
        </p:nvSpPr>
        <p:spPr bwMode="auto">
          <a:xfrm>
            <a:off x="4628446" y="2224635"/>
            <a:ext cx="3200127" cy="685741"/>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Front-end VMs</a:t>
            </a:r>
          </a:p>
        </p:txBody>
      </p:sp>
      <p:sp>
        <p:nvSpPr>
          <p:cNvPr id="14" name="Oval 13"/>
          <p:cNvSpPr/>
          <p:nvPr/>
        </p:nvSpPr>
        <p:spPr bwMode="auto">
          <a:xfrm>
            <a:off x="4628446" y="3041239"/>
            <a:ext cx="3200127" cy="685741"/>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Back-end VMs</a:t>
            </a:r>
          </a:p>
        </p:txBody>
      </p:sp>
      <p:sp>
        <p:nvSpPr>
          <p:cNvPr id="15" name="Oval 14"/>
          <p:cNvSpPr/>
          <p:nvPr/>
        </p:nvSpPr>
        <p:spPr bwMode="auto">
          <a:xfrm>
            <a:off x="7828572" y="2224634"/>
            <a:ext cx="1152336" cy="150234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Virtual Network</a:t>
            </a:r>
          </a:p>
        </p:txBody>
      </p:sp>
      <p:sp>
        <p:nvSpPr>
          <p:cNvPr id="16" name="Oval 15"/>
          <p:cNvSpPr/>
          <p:nvPr/>
        </p:nvSpPr>
        <p:spPr bwMode="auto">
          <a:xfrm>
            <a:off x="3474185" y="2224634"/>
            <a:ext cx="1152336" cy="150234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Storage account</a:t>
            </a:r>
          </a:p>
        </p:txBody>
      </p:sp>
      <p:sp>
        <p:nvSpPr>
          <p:cNvPr id="17" name="Oval 16"/>
          <p:cNvSpPr/>
          <p:nvPr/>
        </p:nvSpPr>
        <p:spPr bwMode="auto">
          <a:xfrm>
            <a:off x="4607657" y="4471058"/>
            <a:ext cx="3200127" cy="6857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RG3: Front-end VMs</a:t>
            </a:r>
          </a:p>
        </p:txBody>
      </p:sp>
      <p:sp>
        <p:nvSpPr>
          <p:cNvPr id="18" name="Oval 17"/>
          <p:cNvSpPr/>
          <p:nvPr/>
        </p:nvSpPr>
        <p:spPr bwMode="auto">
          <a:xfrm>
            <a:off x="4607657" y="5287662"/>
            <a:ext cx="3200127" cy="6857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RG4: Back-end VMs</a:t>
            </a:r>
          </a:p>
        </p:txBody>
      </p:sp>
      <p:sp>
        <p:nvSpPr>
          <p:cNvPr id="19" name="Oval 18"/>
          <p:cNvSpPr/>
          <p:nvPr/>
        </p:nvSpPr>
        <p:spPr bwMode="auto">
          <a:xfrm>
            <a:off x="7807783" y="4471058"/>
            <a:ext cx="1152336" cy="150234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RG2: Virtual Network</a:t>
            </a:r>
          </a:p>
        </p:txBody>
      </p:sp>
      <p:sp>
        <p:nvSpPr>
          <p:cNvPr id="20" name="Oval 19"/>
          <p:cNvSpPr/>
          <p:nvPr/>
        </p:nvSpPr>
        <p:spPr bwMode="auto">
          <a:xfrm>
            <a:off x="3453396" y="4471058"/>
            <a:ext cx="1152336" cy="150234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RG1:</a:t>
            </a:r>
          </a:p>
          <a:p>
            <a:pPr algn="ctr" defTabSz="699229" fontAlgn="base">
              <a:spcBef>
                <a:spcPct val="0"/>
              </a:spcBef>
              <a:spcAft>
                <a:spcPct val="0"/>
              </a:spcAft>
            </a:pPr>
            <a:r>
              <a:rPr lang="en-US" sz="1500">
                <a:gradFill>
                  <a:gsLst>
                    <a:gs pos="16814">
                      <a:srgbClr val="FFFFFF"/>
                    </a:gs>
                    <a:gs pos="46000">
                      <a:srgbClr val="FFFFFF"/>
                    </a:gs>
                  </a:gsLst>
                  <a:lin ang="5400000" scaled="0"/>
                </a:gradFill>
              </a:rPr>
              <a:t>Storage account</a:t>
            </a:r>
          </a:p>
        </p:txBody>
      </p:sp>
      <p:sp>
        <p:nvSpPr>
          <p:cNvPr id="2" name="TextBox 1"/>
          <p:cNvSpPr txBox="1"/>
          <p:nvPr/>
        </p:nvSpPr>
        <p:spPr>
          <a:xfrm>
            <a:off x="4974797" y="3984990"/>
            <a:ext cx="2465846" cy="429328"/>
          </a:xfrm>
          <a:prstGeom prst="rect">
            <a:avLst/>
          </a:prstGeom>
          <a:noFill/>
        </p:spPr>
        <p:txBody>
          <a:bodyPr wrap="none" lIns="137149" tIns="109718" rIns="137149" bIns="109718" rtlCol="0">
            <a:spAutoFit/>
          </a:bodyPr>
          <a:lstStyle/>
          <a:p>
            <a:pPr>
              <a:lnSpc>
                <a:spcPct val="90000"/>
              </a:lnSpc>
              <a:spcAft>
                <a:spcPts val="450"/>
              </a:spcAft>
            </a:pPr>
            <a:r>
              <a:rPr lang="en-US" sz="1500">
                <a:solidFill>
                  <a:schemeClr val="accent1"/>
                </a:solidFill>
              </a:rPr>
              <a:t>Multiple resource groups</a:t>
            </a:r>
          </a:p>
        </p:txBody>
      </p:sp>
    </p:spTree>
    <p:extLst>
      <p:ext uri="{BB962C8B-B14F-4D97-AF65-F5344CB8AC3E}">
        <p14:creationId xmlns:p14="http://schemas.microsoft.com/office/powerpoint/2010/main" val="222641917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3"/>
          <p:cNvSpPr txBox="1">
            <a:spLocks/>
          </p:cNvSpPr>
          <p:nvPr/>
        </p:nvSpPr>
        <p:spPr>
          <a:xfrm>
            <a:off x="366169" y="1212850"/>
            <a:ext cx="5698875" cy="5561011"/>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lvl="1" indent="-342900" defTabSz="932594"/>
            <a:r>
              <a:rPr lang="en-US" sz="2000"/>
              <a:t>Name-value pairs assigned to resources or groups</a:t>
            </a:r>
          </a:p>
          <a:p>
            <a:pPr marL="342900" lvl="1" indent="-342900" defTabSz="932594"/>
            <a:r>
              <a:rPr lang="en-US" sz="2000"/>
              <a:t>Subscription-wide taxonomy</a:t>
            </a:r>
          </a:p>
          <a:p>
            <a:pPr marL="342900" lvl="1" indent="-342900" defTabSz="932594"/>
            <a:r>
              <a:rPr lang="en-US" sz="2000"/>
              <a:t>Each resource can have up to 15 tags</a:t>
            </a:r>
          </a:p>
          <a:p>
            <a:pPr marL="0" indent="0">
              <a:buNone/>
            </a:pPr>
            <a:r>
              <a:rPr lang="en-US">
                <a:solidFill>
                  <a:schemeClr val="accent1"/>
                </a:solidFill>
              </a:rPr>
              <a:t>Tagging Tips</a:t>
            </a:r>
          </a:p>
          <a:p>
            <a:pPr marL="342900" lvl="1" indent="-342900" defTabSz="932594"/>
            <a:r>
              <a:rPr lang="en-US" sz="2000"/>
              <a:t>Notes: Simple note for VM</a:t>
            </a:r>
          </a:p>
          <a:p>
            <a:pPr marL="342900" lvl="1" indent="-342900" defTabSz="932594"/>
            <a:r>
              <a:rPr lang="en-US" sz="2000"/>
              <a:t>Creator: Track the “owner” of a VM</a:t>
            </a:r>
          </a:p>
          <a:p>
            <a:pPr marL="342900" lvl="1" indent="-342900" defTabSz="932594"/>
            <a:r>
              <a:rPr lang="en-US" sz="2000"/>
              <a:t>Department/cost center: Who pays</a:t>
            </a:r>
          </a:p>
          <a:p>
            <a:pPr marL="342900" lvl="1" indent="-342900" defTabSz="932594"/>
            <a:r>
              <a:rPr lang="en-US" sz="2000"/>
              <a:t>Environment: Production vs. </a:t>
            </a:r>
            <a:br>
              <a:rPr lang="en-US" sz="2000"/>
            </a:br>
            <a:r>
              <a:rPr lang="en-US" sz="2000"/>
              <a:t>pre-production vs. test</a:t>
            </a:r>
          </a:p>
        </p:txBody>
      </p:sp>
      <p:sp>
        <p:nvSpPr>
          <p:cNvPr id="2" name="Title 1"/>
          <p:cNvSpPr>
            <a:spLocks noGrp="1"/>
          </p:cNvSpPr>
          <p:nvPr>
            <p:ph type="title"/>
          </p:nvPr>
        </p:nvSpPr>
        <p:spPr/>
        <p:txBody>
          <a:bodyPr/>
          <a:lstStyle/>
          <a:p>
            <a:r>
              <a:rPr lang="en-US" sz="4800"/>
              <a:t>Resource tags</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55644" y="1516062"/>
            <a:ext cx="3818396" cy="3717506"/>
          </a:xfrm>
          <a:prstGeom prst="rect">
            <a:avLst/>
          </a:prstGeom>
        </p:spPr>
      </p:pic>
    </p:spTree>
    <p:extLst>
      <p:ext uri="{BB962C8B-B14F-4D97-AF65-F5344CB8AC3E}">
        <p14:creationId xmlns:p14="http://schemas.microsoft.com/office/powerpoint/2010/main" val="27198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Resource locks</a:t>
            </a:r>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b="18613"/>
          <a:stretch/>
        </p:blipFill>
        <p:spPr>
          <a:xfrm>
            <a:off x="3321844" y="3878262"/>
            <a:ext cx="5853182" cy="1976934"/>
          </a:xfrm>
          <a:prstGeom prst="rect">
            <a:avLst/>
          </a:prstGeom>
        </p:spPr>
      </p:pic>
      <p:sp>
        <p:nvSpPr>
          <p:cNvPr id="5" name="Text Placeholder 3"/>
          <p:cNvSpPr txBox="1">
            <a:spLocks/>
          </p:cNvSpPr>
          <p:nvPr/>
        </p:nvSpPr>
        <p:spPr>
          <a:xfrm>
            <a:off x="366168" y="1212850"/>
            <a:ext cx="11566275" cy="1902059"/>
          </a:xfrm>
          <a:prstGeom prst="rect">
            <a:avLst/>
          </a:prstGeom>
        </p:spPr>
        <p:txBody>
          <a:bodyPr vert="horz" wrap="square" lIns="164592" tIns="91440" rIns="164592"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2"/>
                    </a:gs>
                    <a:gs pos="99000">
                      <a:schemeClr val="tx2"/>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0" indent="-571500">
              <a:buFont typeface="Arial" panose="020B0604020202020204" pitchFamily="34" charset="0"/>
              <a:buChar char="•"/>
            </a:pPr>
            <a:r>
              <a:rPr lang="en-US"/>
              <a:t>Resource locks prevent accidental deletion</a:t>
            </a:r>
          </a:p>
          <a:p>
            <a:pPr marL="571500" indent="-571500">
              <a:buFont typeface="Arial" panose="020B0604020202020204" pitchFamily="34" charset="0"/>
              <a:buChar char="•"/>
            </a:pPr>
            <a:r>
              <a:rPr lang="en-US"/>
              <a:t>Allow admins to create policies against deletion</a:t>
            </a:r>
          </a:p>
          <a:p>
            <a:pPr marL="571500" indent="-571500">
              <a:buFont typeface="Arial" panose="020B0604020202020204" pitchFamily="34" charset="0"/>
              <a:buChar char="•"/>
            </a:pPr>
            <a:r>
              <a:rPr lang="en-US"/>
              <a:t>Policy enforces a lock level (</a:t>
            </a:r>
            <a:r>
              <a:rPr lang="en-US" err="1"/>
              <a:t>CanNotDelete</a:t>
            </a:r>
            <a:r>
              <a:rPr lang="en-US"/>
              <a:t>)</a:t>
            </a:r>
          </a:p>
        </p:txBody>
      </p:sp>
    </p:spTree>
    <p:extLst>
      <p:ext uri="{BB962C8B-B14F-4D97-AF65-F5344CB8AC3E}">
        <p14:creationId xmlns:p14="http://schemas.microsoft.com/office/powerpoint/2010/main" val="429049162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1752204" y="1363662"/>
            <a:ext cx="8930481" cy="5410200"/>
          </a:xfrm>
          <a:prstGeom prst="round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37568" y="1858962"/>
            <a:ext cx="8442288" cy="4419600"/>
          </a:xfrm>
          <a:prstGeom prst="rect">
            <a:avLst/>
          </a:prstGeom>
        </p:spPr>
      </p:pic>
      <p:sp>
        <p:nvSpPr>
          <p:cNvPr id="6" name="Title 1"/>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Resource groups – Role-based access control</a:t>
            </a:r>
          </a:p>
        </p:txBody>
      </p:sp>
    </p:spTree>
    <p:extLst>
      <p:ext uri="{BB962C8B-B14F-4D97-AF65-F5344CB8AC3E}">
        <p14:creationId xmlns:p14="http://schemas.microsoft.com/office/powerpoint/2010/main" val="14201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solidFill>
                  <a:schemeClr val="tx1"/>
                </a:solidFill>
              </a:rPr>
              <a:t>RBAC – Two key concepts</a:t>
            </a:r>
          </a:p>
        </p:txBody>
      </p:sp>
      <p:sp>
        <p:nvSpPr>
          <p:cNvPr id="5" name="Content Placeholder 2"/>
          <p:cNvSpPr txBox="1">
            <a:spLocks/>
          </p:cNvSpPr>
          <p:nvPr/>
        </p:nvSpPr>
        <p:spPr>
          <a:xfrm>
            <a:off x="7665244" y="4099902"/>
            <a:ext cx="4172708" cy="302780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ctr">
              <a:lnSpc>
                <a:spcPct val="100000"/>
              </a:lnSpc>
            </a:pPr>
            <a:endParaRPr lang="en-US" sz="1500" b="1">
              <a:solidFill>
                <a:schemeClr val="tx1"/>
              </a:solidFill>
              <a:ea typeface="Segoe UI" pitchFamily="34" charset="0"/>
              <a:cs typeface="Segoe UI" pitchFamily="34" charset="0"/>
            </a:endParaRPr>
          </a:p>
          <a:p>
            <a:pPr marL="342854" lvl="1" indent="0" fontAlgn="ctr">
              <a:lnSpc>
                <a:spcPct val="100000"/>
              </a:lnSpc>
              <a:buNone/>
            </a:pPr>
            <a:endParaRPr lang="en-US" sz="1500">
              <a:solidFill>
                <a:schemeClr val="tx1"/>
              </a:solidFill>
              <a:latin typeface="Segoe UI Light"/>
              <a:ea typeface="Segoe UI" pitchFamily="34" charset="0"/>
              <a:cs typeface="Segoe UI" pitchFamily="34" charset="0"/>
            </a:endParaRPr>
          </a:p>
        </p:txBody>
      </p:sp>
      <p:sp>
        <p:nvSpPr>
          <p:cNvPr id="7" name="Text Placeholder 3"/>
          <p:cNvSpPr txBox="1">
            <a:spLocks/>
          </p:cNvSpPr>
          <p:nvPr/>
        </p:nvSpPr>
        <p:spPr>
          <a:xfrm>
            <a:off x="366168" y="1212850"/>
            <a:ext cx="10515191" cy="5561011"/>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dirty="0">
                <a:solidFill>
                  <a:schemeClr val="accent1"/>
                </a:solidFill>
              </a:rPr>
              <a:t>Role assignments</a:t>
            </a:r>
            <a:endParaRPr lang="en-US" dirty="0"/>
          </a:p>
          <a:p>
            <a:pPr marL="342900" lvl="1" indent="-342900" defTabSz="932594"/>
            <a:r>
              <a:rPr lang="en-US" sz="2000" dirty="0"/>
              <a:t>Associate role definitions with an identity (e.g. user/group) at a scope (e.g. resource group)</a:t>
            </a:r>
          </a:p>
          <a:p>
            <a:pPr marL="342900" lvl="1" indent="-342900" defTabSz="932594"/>
            <a:r>
              <a:rPr lang="en-US" sz="2000" dirty="0"/>
              <a:t>Always inherited – Subscription assignments apply to all resources</a:t>
            </a:r>
          </a:p>
          <a:p>
            <a:pPr marL="0" indent="0">
              <a:buNone/>
            </a:pPr>
            <a:r>
              <a:rPr lang="en-US" dirty="0">
                <a:solidFill>
                  <a:schemeClr val="accent1"/>
                </a:solidFill>
              </a:rPr>
              <a:t>Role definitions</a:t>
            </a:r>
          </a:p>
          <a:p>
            <a:pPr marL="342900" lvl="1" indent="-342900" defTabSz="932594"/>
            <a:r>
              <a:rPr lang="en-US" sz="2000" dirty="0"/>
              <a:t>Describes the set of permissions (e.g. read actions)</a:t>
            </a:r>
          </a:p>
          <a:p>
            <a:pPr marL="342900" lvl="1" indent="-342900" defTabSz="932594"/>
            <a:r>
              <a:rPr lang="en-US" sz="2000" dirty="0"/>
              <a:t>Can be used in multiple assignments</a:t>
            </a:r>
          </a:p>
        </p:txBody>
      </p:sp>
    </p:spTree>
    <p:extLst>
      <p:ext uri="{BB962C8B-B14F-4D97-AF65-F5344CB8AC3E}">
        <p14:creationId xmlns:p14="http://schemas.microsoft.com/office/powerpoint/2010/main" val="271094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3933384"/>
          </a:xfrm>
        </p:spPr>
        <p:txBody>
          <a:bodyPr/>
          <a:lstStyle/>
          <a:p>
            <a:pPr marL="0" indent="0">
              <a:buNone/>
            </a:pPr>
            <a:r>
              <a:rPr lang="en-US">
                <a:solidFill>
                  <a:schemeClr val="accent1"/>
                </a:solidFill>
              </a:rPr>
              <a:t>Azure has prebuilt RBAC resource roles</a:t>
            </a:r>
          </a:p>
          <a:p>
            <a:pPr marL="342900" lvl="1" indent="-342900" defTabSz="932594"/>
            <a:r>
              <a:rPr lang="en-US" sz="2000"/>
              <a:t>Defined for specific resources</a:t>
            </a:r>
          </a:p>
          <a:p>
            <a:pPr marL="342900" lvl="1" indent="-342900" defTabSz="932594"/>
            <a:r>
              <a:rPr lang="en-US" sz="2000"/>
              <a:t>Defined for groups of resources</a:t>
            </a:r>
          </a:p>
          <a:p>
            <a:pPr marL="0" indent="0">
              <a:buNone/>
            </a:pPr>
            <a:r>
              <a:rPr lang="en-US">
                <a:solidFill>
                  <a:schemeClr val="accent1"/>
                </a:solidFill>
              </a:rPr>
              <a:t>Not all Azure resources have a prebuilt roles</a:t>
            </a:r>
          </a:p>
          <a:p>
            <a:pPr marL="0" indent="0">
              <a:buNone/>
            </a:pPr>
            <a:r>
              <a:rPr lang="en-US">
                <a:solidFill>
                  <a:schemeClr val="accent1"/>
                </a:solidFill>
              </a:rPr>
              <a:t>Custom roles allow customers to fill in the gaps</a:t>
            </a:r>
          </a:p>
          <a:p>
            <a:pPr marL="342900" lvl="1" indent="-342900" defTabSz="932594"/>
            <a:r>
              <a:rPr lang="en-US" sz="2000"/>
              <a:t>Copy an existing role and edit the allowed actions (or </a:t>
            </a:r>
            <a:r>
              <a:rPr lang="en-US" sz="2000" err="1"/>
              <a:t>NotActions</a:t>
            </a:r>
            <a:r>
              <a:rPr lang="en-US" sz="2000"/>
              <a:t>)</a:t>
            </a:r>
          </a:p>
          <a:p>
            <a:pPr marL="342900" lvl="1" indent="-342900" defTabSz="932594"/>
            <a:r>
              <a:rPr lang="en-US" sz="2000"/>
              <a:t>Create from scratch</a:t>
            </a:r>
          </a:p>
          <a:p>
            <a:pPr marL="342900" lvl="1" indent="-342900" defTabSz="932594"/>
            <a:r>
              <a:rPr lang="en-US" sz="2000"/>
              <a:t>Must define where the role can be assigned</a:t>
            </a:r>
          </a:p>
          <a:p>
            <a:pPr marL="342900" lvl="1" indent="-342900" defTabSz="932594"/>
            <a:r>
              <a:rPr lang="en-US" sz="2000"/>
              <a:t>Must apply the custom role to each subscription so it can be used</a:t>
            </a:r>
          </a:p>
        </p:txBody>
      </p:sp>
      <p:sp>
        <p:nvSpPr>
          <p:cNvPr id="3" name="Title 2"/>
          <p:cNvSpPr>
            <a:spLocks noGrp="1"/>
          </p:cNvSpPr>
          <p:nvPr>
            <p:ph type="title"/>
          </p:nvPr>
        </p:nvSpPr>
        <p:spPr/>
        <p:txBody>
          <a:bodyPr/>
          <a:lstStyle/>
          <a:p>
            <a:r>
              <a:rPr lang="en-US" sz="4800"/>
              <a:t>RBAC – Built-in versus custom definitions</a:t>
            </a:r>
          </a:p>
        </p:txBody>
      </p:sp>
    </p:spTree>
    <p:extLst>
      <p:ext uri="{BB962C8B-B14F-4D97-AF65-F5344CB8AC3E}">
        <p14:creationId xmlns:p14="http://schemas.microsoft.com/office/powerpoint/2010/main" val="43834034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1360372"/>
          </a:xfrm>
        </p:spPr>
        <p:txBody>
          <a:bodyPr/>
          <a:lstStyle/>
          <a:p>
            <a:pPr marL="0" indent="0">
              <a:buNone/>
            </a:pPr>
            <a:r>
              <a:rPr lang="en-US">
                <a:solidFill>
                  <a:schemeClr val="accent1"/>
                </a:solidFill>
              </a:rPr>
              <a:t>Determine what a role definition can do</a:t>
            </a:r>
          </a:p>
          <a:p>
            <a:pPr marL="342900" lvl="1" indent="-342900" defTabSz="932594"/>
            <a:r>
              <a:rPr lang="en-US" sz="2000"/>
              <a:t>(get-</a:t>
            </a:r>
            <a:r>
              <a:rPr lang="en-US" sz="2000" err="1"/>
              <a:t>azurermroledefinition</a:t>
            </a:r>
            <a:r>
              <a:rPr lang="en-US" sz="2000"/>
              <a:t> "&lt;role name&gt;").actions</a:t>
            </a:r>
          </a:p>
          <a:p>
            <a:pPr marL="342900" lvl="1" indent="-342900" defTabSz="932594"/>
            <a:r>
              <a:rPr lang="en-US" sz="2000"/>
              <a:t>(get-</a:t>
            </a:r>
            <a:r>
              <a:rPr lang="en-US" sz="2000" err="1"/>
              <a:t>azurermroledefinition</a:t>
            </a:r>
            <a:r>
              <a:rPr lang="en-US" sz="2000"/>
              <a:t> "&lt;role name&gt;").</a:t>
            </a:r>
            <a:r>
              <a:rPr lang="en-US" sz="2000" err="1"/>
              <a:t>notactions</a:t>
            </a:r>
            <a:endParaRPr lang="en-US" sz="2000"/>
          </a:p>
        </p:txBody>
      </p:sp>
      <p:sp>
        <p:nvSpPr>
          <p:cNvPr id="3" name="Title 2"/>
          <p:cNvSpPr>
            <a:spLocks noGrp="1"/>
          </p:cNvSpPr>
          <p:nvPr>
            <p:ph type="title"/>
          </p:nvPr>
        </p:nvSpPr>
        <p:spPr/>
        <p:txBody>
          <a:bodyPr/>
          <a:lstStyle/>
          <a:p>
            <a:r>
              <a:rPr lang="en-US" sz="4800"/>
              <a:t>RBAC role definitions</a:t>
            </a:r>
          </a:p>
        </p:txBody>
      </p:sp>
    </p:spTree>
    <p:extLst>
      <p:ext uri="{BB962C8B-B14F-4D97-AF65-F5344CB8AC3E}">
        <p14:creationId xmlns:p14="http://schemas.microsoft.com/office/powerpoint/2010/main" val="146192598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6722D-B6BF-4D0F-9813-5DACC5BEA908}"/>
              </a:ext>
            </a:extLst>
          </p:cNvPr>
          <p:cNvSpPr>
            <a:spLocks noGrp="1"/>
          </p:cNvSpPr>
          <p:nvPr>
            <p:ph type="title"/>
          </p:nvPr>
        </p:nvSpPr>
        <p:spPr>
          <a:xfrm>
            <a:off x="226164" y="1729398"/>
            <a:ext cx="11702553" cy="2179058"/>
          </a:xfrm>
        </p:spPr>
        <p:txBody>
          <a:bodyPr/>
          <a:lstStyle/>
          <a:p>
            <a:r>
              <a:rPr lang="en-US" dirty="0"/>
              <a:t>Compute IaaS Deployment</a:t>
            </a:r>
            <a:br>
              <a:rPr lang="en-US" dirty="0"/>
            </a:br>
            <a:endParaRPr lang="en-US" dirty="0"/>
          </a:p>
        </p:txBody>
      </p:sp>
      <p:graphicFrame>
        <p:nvGraphicFramePr>
          <p:cNvPr id="3" name="Diagram 2">
            <a:extLst>
              <a:ext uri="{FF2B5EF4-FFF2-40B4-BE49-F238E27FC236}">
                <a16:creationId xmlns:a16="http://schemas.microsoft.com/office/drawing/2014/main" id="{8729EFEC-2AEA-470A-94D1-CC460369B265}"/>
              </a:ext>
            </a:extLst>
          </p:cNvPr>
          <p:cNvGraphicFramePr/>
          <p:nvPr>
            <p:extLst>
              <p:ext uri="{D42A27DB-BD31-4B8C-83A1-F6EECF244321}">
                <p14:modId xmlns:p14="http://schemas.microsoft.com/office/powerpoint/2010/main" val="1922810699"/>
              </p:ext>
            </p:extLst>
          </p:nvPr>
        </p:nvGraphicFramePr>
        <p:xfrm>
          <a:off x="3207598" y="3058510"/>
          <a:ext cx="4976957" cy="31840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09948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7" y="1212851"/>
            <a:ext cx="5288183" cy="5632311"/>
          </a:xfrm>
        </p:spPr>
        <p:txBody>
          <a:bodyPr/>
          <a:lstStyle/>
          <a:p>
            <a:pPr marL="0" indent="0">
              <a:buNone/>
            </a:pPr>
            <a:r>
              <a:rPr lang="en-US" dirty="0">
                <a:solidFill>
                  <a:schemeClr val="accent1"/>
                </a:solidFill>
              </a:rPr>
              <a:t>Central IT / Contractor</a:t>
            </a:r>
          </a:p>
          <a:p>
            <a:pPr marL="342900" lvl="1" indent="-342900" defTabSz="932594"/>
            <a:r>
              <a:rPr lang="en-US" sz="2000" dirty="0"/>
              <a:t>Azure Active Directory</a:t>
            </a:r>
          </a:p>
          <a:p>
            <a:pPr marL="342900" lvl="1" indent="-342900" defTabSz="932594"/>
            <a:r>
              <a:rPr lang="en-US" sz="2000" dirty="0"/>
              <a:t>Subscription Owner rights</a:t>
            </a:r>
          </a:p>
          <a:p>
            <a:pPr marL="342900" lvl="1" indent="-342900" defTabSz="932594"/>
            <a:r>
              <a:rPr lang="en-US" sz="2000" dirty="0"/>
              <a:t>Resource Groups</a:t>
            </a:r>
          </a:p>
          <a:p>
            <a:pPr marL="342900" lvl="1" indent="-342900" defTabSz="932594"/>
            <a:r>
              <a:rPr lang="en-US" sz="2000" dirty="0"/>
              <a:t>Storage Accounts</a:t>
            </a:r>
          </a:p>
          <a:p>
            <a:pPr marL="342900" lvl="1" indent="-342900" defTabSz="932594"/>
            <a:r>
              <a:rPr lang="en-US" sz="2000" dirty="0"/>
              <a:t>Virtual Networks - owner</a:t>
            </a:r>
          </a:p>
          <a:p>
            <a:pPr marL="0" indent="0">
              <a:buNone/>
            </a:pPr>
            <a:r>
              <a:rPr lang="en-US" dirty="0">
                <a:solidFill>
                  <a:schemeClr val="accent1"/>
                </a:solidFill>
              </a:rPr>
              <a:t>Biz Unit or Organization</a:t>
            </a:r>
          </a:p>
          <a:p>
            <a:pPr marL="342900" lvl="1" indent="-342900" defTabSz="932594"/>
            <a:r>
              <a:rPr lang="en-US" sz="2000" dirty="0">
                <a:solidFill>
                  <a:srgbClr val="FF0000"/>
                </a:solidFill>
                <a:effectLst>
                  <a:outerShdw blurRad="38100" dist="38100" dir="2700000" algn="tl">
                    <a:srgbClr val="000000">
                      <a:alpha val="43137"/>
                    </a:srgbClr>
                  </a:outerShdw>
                </a:effectLst>
              </a:rPr>
              <a:t>IaaS Compute</a:t>
            </a:r>
          </a:p>
          <a:p>
            <a:pPr marL="342900" lvl="1" indent="-342900" defTabSz="932594"/>
            <a:r>
              <a:rPr lang="en-US" sz="2000" dirty="0"/>
              <a:t>Contributor Rights only</a:t>
            </a:r>
          </a:p>
          <a:p>
            <a:pPr marL="342900" lvl="1" indent="-342900" defTabSz="932594"/>
            <a:r>
              <a:rPr lang="en-US" sz="2000" dirty="0"/>
              <a:t>Availability Sets</a:t>
            </a:r>
          </a:p>
          <a:p>
            <a:pPr marL="342900" lvl="1" indent="-342900" defTabSz="932594"/>
            <a:r>
              <a:rPr lang="en-US" sz="2000" dirty="0"/>
              <a:t>Load Balancers</a:t>
            </a:r>
          </a:p>
          <a:p>
            <a:pPr marL="342900" lvl="1" indent="-342900" defTabSz="932594"/>
            <a:r>
              <a:rPr lang="en-US" sz="2000" dirty="0"/>
              <a:t>WAF, </a:t>
            </a:r>
            <a:r>
              <a:rPr lang="en-US" sz="2000" dirty="0" err="1"/>
              <a:t>etc</a:t>
            </a:r>
            <a:r>
              <a:rPr lang="en-US" sz="2000" dirty="0"/>
              <a:t>  </a:t>
            </a:r>
          </a:p>
          <a:p>
            <a:pPr marL="0" lvl="1" indent="0" defTabSz="932594">
              <a:buNone/>
            </a:pPr>
            <a:endParaRPr lang="en-US" sz="2000" i="1" dirty="0"/>
          </a:p>
          <a:p>
            <a:pPr marL="0" lvl="1" indent="0" defTabSz="932594">
              <a:buNone/>
            </a:pPr>
            <a:r>
              <a:rPr lang="en-US" sz="2000" i="1" dirty="0"/>
              <a:t>These are internal discussions for Separation of Duties if needed and applies</a:t>
            </a:r>
            <a:r>
              <a:rPr lang="en-US" sz="2000" dirty="0"/>
              <a:t>  </a:t>
            </a:r>
          </a:p>
        </p:txBody>
      </p:sp>
      <p:sp>
        <p:nvSpPr>
          <p:cNvPr id="3" name="Title 2"/>
          <p:cNvSpPr>
            <a:spLocks noGrp="1"/>
          </p:cNvSpPr>
          <p:nvPr>
            <p:ph type="title"/>
          </p:nvPr>
        </p:nvSpPr>
        <p:spPr/>
        <p:txBody>
          <a:bodyPr/>
          <a:lstStyle/>
          <a:p>
            <a:r>
              <a:rPr lang="en-US" sz="4800" dirty="0"/>
              <a:t>Who’s owns what parts - examples</a:t>
            </a:r>
          </a:p>
        </p:txBody>
      </p:sp>
      <p:pic>
        <p:nvPicPr>
          <p:cNvPr id="5" name="Picture 4">
            <a:extLst>
              <a:ext uri="{FF2B5EF4-FFF2-40B4-BE49-F238E27FC236}">
                <a16:creationId xmlns:a16="http://schemas.microsoft.com/office/drawing/2014/main" id="{3E49E269-1EB0-44BF-8FDE-00D096120FB2}"/>
              </a:ext>
            </a:extLst>
          </p:cNvPr>
          <p:cNvPicPr>
            <a:picLocks noChangeAspect="1"/>
          </p:cNvPicPr>
          <p:nvPr/>
        </p:nvPicPr>
        <p:blipFill>
          <a:blip r:embed="rId3"/>
          <a:stretch>
            <a:fillRect/>
          </a:stretch>
        </p:blipFill>
        <p:spPr>
          <a:xfrm>
            <a:off x="6217443" y="1561915"/>
            <a:ext cx="5288183" cy="4968977"/>
          </a:xfrm>
          <a:prstGeom prst="rect">
            <a:avLst/>
          </a:prstGeom>
        </p:spPr>
      </p:pic>
    </p:spTree>
    <p:extLst>
      <p:ext uri="{BB962C8B-B14F-4D97-AF65-F5344CB8AC3E}">
        <p14:creationId xmlns:p14="http://schemas.microsoft.com/office/powerpoint/2010/main" val="53790946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4854470" cy="5626156"/>
          </a:xfrm>
        </p:spPr>
        <p:txBody>
          <a:bodyPr/>
          <a:lstStyle/>
          <a:p>
            <a:pPr marL="0" indent="0">
              <a:buNone/>
            </a:pPr>
            <a:r>
              <a:rPr lang="en-US" dirty="0" err="1">
                <a:solidFill>
                  <a:schemeClr val="accent1"/>
                </a:solidFill>
              </a:rPr>
              <a:t>Quickstarts</a:t>
            </a:r>
            <a:endParaRPr lang="en-US" dirty="0">
              <a:solidFill>
                <a:schemeClr val="accent1"/>
              </a:solidFill>
            </a:endParaRPr>
          </a:p>
          <a:p>
            <a:pPr marL="342900" lvl="1" indent="-342900" defTabSz="932594"/>
            <a:r>
              <a:rPr lang="en-US" sz="2000" dirty="0"/>
              <a:t>Marketplace</a:t>
            </a:r>
          </a:p>
          <a:p>
            <a:pPr marL="342900" lvl="1" indent="-342900" defTabSz="932594"/>
            <a:r>
              <a:rPr lang="en-US" sz="2000" dirty="0"/>
              <a:t>Azure </a:t>
            </a:r>
            <a:r>
              <a:rPr lang="en-US" sz="2000" dirty="0" err="1"/>
              <a:t>Quickstarts</a:t>
            </a:r>
            <a:endParaRPr lang="en-US" sz="2000" dirty="0"/>
          </a:p>
          <a:p>
            <a:pPr marL="342900" lvl="1" indent="-342900" defTabSz="932594"/>
            <a:r>
              <a:rPr lang="en-US" sz="2000" dirty="0"/>
              <a:t>ARM Templates</a:t>
            </a:r>
          </a:p>
          <a:p>
            <a:pPr marL="342900" lvl="1" indent="-342900" defTabSz="932594"/>
            <a:r>
              <a:rPr lang="en-US" sz="2000" dirty="0"/>
              <a:t>Visual Studio</a:t>
            </a:r>
          </a:p>
          <a:p>
            <a:pPr marL="0" indent="0">
              <a:buNone/>
            </a:pPr>
            <a:r>
              <a:rPr lang="en-US" dirty="0">
                <a:solidFill>
                  <a:schemeClr val="accent1"/>
                </a:solidFill>
              </a:rPr>
              <a:t>Methods</a:t>
            </a:r>
          </a:p>
          <a:p>
            <a:pPr marL="342900" lvl="1" indent="-342900" defTabSz="932594"/>
            <a:r>
              <a:rPr lang="en-US" sz="2000" dirty="0"/>
              <a:t>Portal – Cloud Shell</a:t>
            </a:r>
          </a:p>
          <a:p>
            <a:pPr marL="342900" lvl="1" indent="-342900" defTabSz="932594"/>
            <a:r>
              <a:rPr lang="en-US" sz="2000" dirty="0"/>
              <a:t>Azure PowerShell</a:t>
            </a:r>
          </a:p>
          <a:p>
            <a:pPr marL="342900" lvl="1" indent="-342900" defTabSz="932594"/>
            <a:r>
              <a:rPr lang="en-US" sz="2000" dirty="0"/>
              <a:t>Azure CLI</a:t>
            </a:r>
          </a:p>
          <a:p>
            <a:pPr marL="0" indent="0">
              <a:buNone/>
            </a:pPr>
            <a:r>
              <a:rPr lang="en-US" dirty="0">
                <a:solidFill>
                  <a:schemeClr val="accent1"/>
                </a:solidFill>
              </a:rPr>
              <a:t>Continuous </a:t>
            </a:r>
          </a:p>
          <a:p>
            <a:pPr marL="342900" lvl="1" indent="-342900" defTabSz="932594"/>
            <a:r>
              <a:rPr lang="en-US" sz="2000" dirty="0"/>
              <a:t>Automation</a:t>
            </a:r>
          </a:p>
          <a:p>
            <a:pPr marL="342900" lvl="1" indent="-342900" defTabSz="932594"/>
            <a:r>
              <a:rPr lang="en-US" sz="2000" dirty="0"/>
              <a:t>CI/CD pipelines</a:t>
            </a:r>
          </a:p>
          <a:p>
            <a:pPr marL="342900" lvl="1" indent="-342900" defTabSz="932594"/>
            <a:r>
              <a:rPr lang="en-US" sz="2000" dirty="0"/>
              <a:t>DevOps </a:t>
            </a:r>
            <a:r>
              <a:rPr lang="en-US" sz="2000" dirty="0">
                <a:hlinkClick r:id="rId3"/>
              </a:rPr>
              <a:t>aka.ms/Azure/DevOps</a:t>
            </a:r>
            <a:endParaRPr lang="en-US" sz="2000" dirty="0"/>
          </a:p>
          <a:p>
            <a:pPr marL="342900" lvl="1" indent="-342900" defTabSz="932594"/>
            <a:r>
              <a:rPr lang="en-US" sz="2000" i="1" dirty="0"/>
              <a:t>We’ll cover more later</a:t>
            </a:r>
            <a:r>
              <a:rPr lang="en-US" sz="2000" dirty="0"/>
              <a:t>  </a:t>
            </a:r>
          </a:p>
        </p:txBody>
      </p:sp>
      <p:sp>
        <p:nvSpPr>
          <p:cNvPr id="3" name="Title 2"/>
          <p:cNvSpPr>
            <a:spLocks noGrp="1"/>
          </p:cNvSpPr>
          <p:nvPr>
            <p:ph type="title"/>
          </p:nvPr>
        </p:nvSpPr>
        <p:spPr/>
        <p:txBody>
          <a:bodyPr/>
          <a:lstStyle/>
          <a:p>
            <a:r>
              <a:rPr lang="en-US" sz="4800" dirty="0"/>
              <a:t>Deployment Methods</a:t>
            </a:r>
          </a:p>
        </p:txBody>
      </p:sp>
      <p:pic>
        <p:nvPicPr>
          <p:cNvPr id="4" name="Picture 3">
            <a:extLst>
              <a:ext uri="{FF2B5EF4-FFF2-40B4-BE49-F238E27FC236}">
                <a16:creationId xmlns:a16="http://schemas.microsoft.com/office/drawing/2014/main" id="{D2A75D62-EAE3-40AA-9899-585273921300}"/>
              </a:ext>
            </a:extLst>
          </p:cNvPr>
          <p:cNvPicPr>
            <a:picLocks noChangeAspect="1"/>
          </p:cNvPicPr>
          <p:nvPr/>
        </p:nvPicPr>
        <p:blipFill>
          <a:blip r:embed="rId4"/>
          <a:stretch>
            <a:fillRect/>
          </a:stretch>
        </p:blipFill>
        <p:spPr>
          <a:xfrm>
            <a:off x="5002908" y="1572389"/>
            <a:ext cx="6271950" cy="481489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706149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69" y="295278"/>
            <a:ext cx="11702551" cy="917575"/>
          </a:xfrm>
        </p:spPr>
        <p:txBody>
          <a:bodyPr/>
          <a:lstStyle/>
          <a:p>
            <a:pPr defTabSz="932594"/>
            <a:r>
              <a:rPr lang="en-US" sz="4800" spc="-101"/>
              <a:t>Microsoft Azure compute (IaaS)</a:t>
            </a:r>
          </a:p>
        </p:txBody>
      </p:sp>
      <p:sp>
        <p:nvSpPr>
          <p:cNvPr id="3" name="Text Placeholder 2"/>
          <p:cNvSpPr>
            <a:spLocks noGrp="1"/>
          </p:cNvSpPr>
          <p:nvPr>
            <p:ph type="body" sz="quarter" idx="4294967295"/>
          </p:nvPr>
        </p:nvSpPr>
        <p:spPr>
          <a:xfrm>
            <a:off x="388144" y="1255713"/>
            <a:ext cx="11702551" cy="738664"/>
          </a:xfrm>
        </p:spPr>
        <p:txBody>
          <a:bodyPr/>
          <a:lstStyle/>
          <a:p>
            <a:pPr marL="0" indent="0">
              <a:buNone/>
            </a:pPr>
            <a:r>
              <a:rPr lang="en-US" sz="2000">
                <a:solidFill>
                  <a:srgbClr val="0078D7"/>
                </a:solidFill>
              </a:rPr>
              <a:t>The focus of this section is on Microsoft’s IaaS capabilities, which in large part consist of storage, networking, backup and recovery, large scale computing and traditional Virtual Machine deployments</a:t>
            </a:r>
          </a:p>
        </p:txBody>
      </p:sp>
      <p:grpSp>
        <p:nvGrpSpPr>
          <p:cNvPr id="144" name="Group 143"/>
          <p:cNvGrpSpPr/>
          <p:nvPr/>
        </p:nvGrpSpPr>
        <p:grpSpPr>
          <a:xfrm>
            <a:off x="2719388" y="2357347"/>
            <a:ext cx="1974056" cy="4240604"/>
            <a:chOff x="2719388" y="2357347"/>
            <a:chExt cx="1974056" cy="4240604"/>
          </a:xfrm>
        </p:grpSpPr>
        <p:sp>
          <p:nvSpPr>
            <p:cNvPr id="12" name="Rectangle 11"/>
            <p:cNvSpPr/>
            <p:nvPr/>
          </p:nvSpPr>
          <p:spPr>
            <a:xfrm flipH="1">
              <a:off x="2719388" y="2357347"/>
              <a:ext cx="1974056" cy="289310"/>
            </a:xfrm>
            <a:prstGeom prst="rect">
              <a:avLst/>
            </a:prstGeom>
            <a:noFill/>
            <a:ln>
              <a:noFill/>
            </a:ln>
          </p:spPr>
          <p:txBody>
            <a:bodyPr wrap="square">
              <a:spAutoFit/>
            </a:bodyPr>
            <a:lstStyle/>
            <a:p>
              <a:pPr algn="ctr" defTabSz="932324" fontAlgn="base">
                <a:lnSpc>
                  <a:spcPct val="80000"/>
                </a:lnSpc>
                <a:spcBef>
                  <a:spcPct val="0"/>
                </a:spcBef>
                <a:spcAft>
                  <a:spcPct val="0"/>
                </a:spcAft>
              </a:pPr>
              <a:r>
                <a:rPr lang="en-US" sz="1600" kern="0"/>
                <a:t>On-premises</a:t>
              </a:r>
            </a:p>
          </p:txBody>
        </p:sp>
        <p:grpSp>
          <p:nvGrpSpPr>
            <p:cNvPr id="121" name="Group 120"/>
            <p:cNvGrpSpPr/>
            <p:nvPr/>
          </p:nvGrpSpPr>
          <p:grpSpPr>
            <a:xfrm>
              <a:off x="2719388" y="2747960"/>
              <a:ext cx="1974056" cy="3849991"/>
              <a:chOff x="2719388" y="2747960"/>
              <a:chExt cx="1974056" cy="3849991"/>
            </a:xfrm>
          </p:grpSpPr>
          <p:sp>
            <p:nvSpPr>
              <p:cNvPr id="11" name="Rectangle 10"/>
              <p:cNvSpPr/>
              <p:nvPr/>
            </p:nvSpPr>
            <p:spPr bwMode="auto">
              <a:xfrm>
                <a:off x="2719388" y="2747960"/>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 name="Rectangle 12"/>
              <p:cNvSpPr/>
              <p:nvPr/>
            </p:nvSpPr>
            <p:spPr bwMode="auto">
              <a:xfrm>
                <a:off x="2719388" y="3181584"/>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Data</a:t>
                </a:r>
              </a:p>
            </p:txBody>
          </p:sp>
          <p:sp>
            <p:nvSpPr>
              <p:cNvPr id="14" name="Rectangle 13"/>
              <p:cNvSpPr/>
              <p:nvPr/>
            </p:nvSpPr>
            <p:spPr bwMode="auto">
              <a:xfrm>
                <a:off x="2719388" y="3615208"/>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Runtime</a:t>
                </a:r>
              </a:p>
            </p:txBody>
          </p:sp>
          <p:sp>
            <p:nvSpPr>
              <p:cNvPr id="15" name="Rectangle 14"/>
              <p:cNvSpPr/>
              <p:nvPr/>
            </p:nvSpPr>
            <p:spPr bwMode="auto">
              <a:xfrm>
                <a:off x="2719388" y="4048832"/>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Middleware</a:t>
                </a:r>
              </a:p>
            </p:txBody>
          </p:sp>
          <p:sp>
            <p:nvSpPr>
              <p:cNvPr id="16" name="Rectangle 15"/>
              <p:cNvSpPr/>
              <p:nvPr/>
            </p:nvSpPr>
            <p:spPr bwMode="auto">
              <a:xfrm>
                <a:off x="2719388" y="4482456"/>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O/S</a:t>
                </a:r>
              </a:p>
            </p:txBody>
          </p:sp>
          <p:sp>
            <p:nvSpPr>
              <p:cNvPr id="17" name="Rectangle 16"/>
              <p:cNvSpPr/>
              <p:nvPr/>
            </p:nvSpPr>
            <p:spPr bwMode="auto">
              <a:xfrm>
                <a:off x="2719388" y="4916080"/>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8" name="Rectangle 17"/>
              <p:cNvSpPr/>
              <p:nvPr/>
            </p:nvSpPr>
            <p:spPr bwMode="auto">
              <a:xfrm>
                <a:off x="2719388" y="5349704"/>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Servers</a:t>
                </a:r>
              </a:p>
            </p:txBody>
          </p:sp>
          <p:sp>
            <p:nvSpPr>
              <p:cNvPr id="19" name="Rectangle 18"/>
              <p:cNvSpPr/>
              <p:nvPr/>
            </p:nvSpPr>
            <p:spPr bwMode="auto">
              <a:xfrm>
                <a:off x="2719388" y="5783328"/>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Storage</a:t>
                </a:r>
              </a:p>
            </p:txBody>
          </p:sp>
          <p:sp>
            <p:nvSpPr>
              <p:cNvPr id="20" name="Rectangle 19"/>
              <p:cNvSpPr/>
              <p:nvPr/>
            </p:nvSpPr>
            <p:spPr bwMode="auto">
              <a:xfrm>
                <a:off x="2719388" y="6216951"/>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Networking</a:t>
                </a:r>
              </a:p>
            </p:txBody>
          </p:sp>
        </p:grpSp>
      </p:grpSp>
      <p:grpSp>
        <p:nvGrpSpPr>
          <p:cNvPr id="118" name="Group 117"/>
          <p:cNvGrpSpPr/>
          <p:nvPr/>
        </p:nvGrpSpPr>
        <p:grpSpPr>
          <a:xfrm>
            <a:off x="540544" y="2716177"/>
            <a:ext cx="1739898" cy="1007766"/>
            <a:chOff x="584083" y="2735262"/>
            <a:chExt cx="1739898" cy="1007766"/>
          </a:xfrm>
        </p:grpSpPr>
        <p:sp>
          <p:nvSpPr>
            <p:cNvPr id="116" name="Rectangle 115"/>
            <p:cNvSpPr/>
            <p:nvPr/>
          </p:nvSpPr>
          <p:spPr>
            <a:xfrm>
              <a:off x="874619" y="2735262"/>
              <a:ext cx="1449362" cy="264560"/>
            </a:xfrm>
            <a:prstGeom prst="rect">
              <a:avLst/>
            </a:prstGeom>
          </p:spPr>
          <p:txBody>
            <a:bodyPr wrap="square">
              <a:spAutoFit/>
            </a:bodyPr>
            <a:lstStyle/>
            <a:p>
              <a:pPr defTabSz="932324" fontAlgn="base">
                <a:lnSpc>
                  <a:spcPct val="80000"/>
                </a:lnSpc>
                <a:spcBef>
                  <a:spcPct val="0"/>
                </a:spcBef>
                <a:spcAft>
                  <a:spcPct val="0"/>
                </a:spcAft>
              </a:pPr>
              <a:r>
                <a:rPr lang="en-US" sz="1399" kern="0"/>
                <a:t>You manage</a:t>
              </a:r>
            </a:p>
          </p:txBody>
        </p:sp>
        <p:sp>
          <p:nvSpPr>
            <p:cNvPr id="114" name="Rectangle 113"/>
            <p:cNvSpPr/>
            <p:nvPr/>
          </p:nvSpPr>
          <p:spPr bwMode="auto">
            <a:xfrm>
              <a:off x="584083" y="2747088"/>
              <a:ext cx="217722" cy="2177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584083" y="3397486"/>
              <a:ext cx="217722" cy="21772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a:xfrm>
              <a:off x="874619" y="3306242"/>
              <a:ext cx="1449362" cy="436786"/>
            </a:xfrm>
            <a:prstGeom prst="rect">
              <a:avLst/>
            </a:prstGeom>
          </p:spPr>
          <p:txBody>
            <a:bodyPr wrap="square">
              <a:spAutoFit/>
            </a:bodyPr>
            <a:lstStyle/>
            <a:p>
              <a:pPr defTabSz="932324" fontAlgn="base">
                <a:lnSpc>
                  <a:spcPct val="80000"/>
                </a:lnSpc>
                <a:spcBef>
                  <a:spcPct val="0"/>
                </a:spcBef>
                <a:spcAft>
                  <a:spcPct val="0"/>
                </a:spcAft>
              </a:pPr>
              <a:r>
                <a:rPr lang="en-US" sz="1399" kern="0"/>
                <a:t>Managed </a:t>
              </a:r>
              <a:br>
                <a:rPr lang="en-US" sz="1399" kern="0"/>
              </a:br>
              <a:r>
                <a:rPr lang="en-US" sz="1399" kern="0"/>
                <a:t>by Microsoft</a:t>
              </a:r>
            </a:p>
          </p:txBody>
        </p:sp>
      </p:grpSp>
      <p:grpSp>
        <p:nvGrpSpPr>
          <p:cNvPr id="143" name="Group 142"/>
          <p:cNvGrpSpPr/>
          <p:nvPr/>
        </p:nvGrpSpPr>
        <p:grpSpPr>
          <a:xfrm>
            <a:off x="5167908" y="2245217"/>
            <a:ext cx="2286000" cy="4452446"/>
            <a:chOff x="5074443" y="2245217"/>
            <a:chExt cx="2286000" cy="4452446"/>
          </a:xfrm>
        </p:grpSpPr>
        <p:sp>
          <p:nvSpPr>
            <p:cNvPr id="5" name="Rectangle 4"/>
            <p:cNvSpPr/>
            <p:nvPr/>
          </p:nvSpPr>
          <p:spPr bwMode="auto">
            <a:xfrm>
              <a:off x="5074443" y="2245217"/>
              <a:ext cx="2286000" cy="4452446"/>
            </a:xfrm>
            <a:prstGeom prst="rect">
              <a:avLst/>
            </a:prstGeom>
            <a:noFill/>
            <a:ln w="190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a:xfrm flipH="1">
              <a:off x="5230414" y="2283480"/>
              <a:ext cx="1974056" cy="437043"/>
            </a:xfrm>
            <a:prstGeom prst="rect">
              <a:avLst/>
            </a:prstGeom>
            <a:noFill/>
            <a:ln>
              <a:noFill/>
            </a:ln>
          </p:spPr>
          <p:txBody>
            <a:bodyPr wrap="square">
              <a:spAutoFit/>
            </a:bodyPr>
            <a:lstStyle/>
            <a:p>
              <a:pPr algn="ctr" defTabSz="932324" fontAlgn="base">
                <a:lnSpc>
                  <a:spcPct val="80000"/>
                </a:lnSpc>
                <a:spcBef>
                  <a:spcPct val="0"/>
                </a:spcBef>
                <a:spcAft>
                  <a:spcPct val="0"/>
                </a:spcAft>
              </a:pPr>
              <a:r>
                <a:rPr lang="en-US" sz="1600" kern="0"/>
                <a:t>Infrastructure</a:t>
              </a:r>
            </a:p>
            <a:p>
              <a:pPr algn="ctr" defTabSz="932324" fontAlgn="base">
                <a:lnSpc>
                  <a:spcPct val="80000"/>
                </a:lnSpc>
                <a:spcBef>
                  <a:spcPct val="0"/>
                </a:spcBef>
                <a:spcAft>
                  <a:spcPct val="0"/>
                </a:spcAft>
              </a:pPr>
              <a:r>
                <a:rPr lang="en-US" sz="1200" kern="0"/>
                <a:t>(as a Service)</a:t>
              </a:r>
            </a:p>
          </p:txBody>
        </p:sp>
        <p:grpSp>
          <p:nvGrpSpPr>
            <p:cNvPr id="122" name="Group 121"/>
            <p:cNvGrpSpPr/>
            <p:nvPr/>
          </p:nvGrpSpPr>
          <p:grpSpPr>
            <a:xfrm>
              <a:off x="5230415" y="2747960"/>
              <a:ext cx="1974056" cy="3849991"/>
              <a:chOff x="2719388" y="2747960"/>
              <a:chExt cx="1974056" cy="3849991"/>
            </a:xfrm>
          </p:grpSpPr>
          <p:sp>
            <p:nvSpPr>
              <p:cNvPr id="123" name="Rectangle 122"/>
              <p:cNvSpPr/>
              <p:nvPr/>
            </p:nvSpPr>
            <p:spPr bwMode="auto">
              <a:xfrm>
                <a:off x="2719388" y="2747960"/>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Applications</a:t>
                </a:r>
              </a:p>
            </p:txBody>
          </p:sp>
          <p:sp>
            <p:nvSpPr>
              <p:cNvPr id="124" name="Rectangle 123"/>
              <p:cNvSpPr/>
              <p:nvPr/>
            </p:nvSpPr>
            <p:spPr bwMode="auto">
              <a:xfrm>
                <a:off x="2719388" y="3181584"/>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Data</a:t>
                </a:r>
              </a:p>
            </p:txBody>
          </p:sp>
          <p:sp>
            <p:nvSpPr>
              <p:cNvPr id="125" name="Rectangle 124"/>
              <p:cNvSpPr/>
              <p:nvPr/>
            </p:nvSpPr>
            <p:spPr bwMode="auto">
              <a:xfrm>
                <a:off x="2719388" y="3615208"/>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Runtime</a:t>
                </a:r>
              </a:p>
            </p:txBody>
          </p:sp>
          <p:sp>
            <p:nvSpPr>
              <p:cNvPr id="126" name="Rectangle 125"/>
              <p:cNvSpPr/>
              <p:nvPr/>
            </p:nvSpPr>
            <p:spPr bwMode="auto">
              <a:xfrm>
                <a:off x="2719388" y="4048832"/>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Middleware</a:t>
                </a:r>
              </a:p>
            </p:txBody>
          </p:sp>
          <p:sp>
            <p:nvSpPr>
              <p:cNvPr id="127" name="Rectangle 126"/>
              <p:cNvSpPr/>
              <p:nvPr/>
            </p:nvSpPr>
            <p:spPr bwMode="auto">
              <a:xfrm>
                <a:off x="2719388" y="4482456"/>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O/S</a:t>
                </a:r>
              </a:p>
            </p:txBody>
          </p:sp>
          <p:sp>
            <p:nvSpPr>
              <p:cNvPr id="128" name="Rectangle 127"/>
              <p:cNvSpPr/>
              <p:nvPr/>
            </p:nvSpPr>
            <p:spPr bwMode="auto">
              <a:xfrm>
                <a:off x="2719388" y="4916080"/>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29" name="Rectangle 128"/>
              <p:cNvSpPr/>
              <p:nvPr/>
            </p:nvSpPr>
            <p:spPr bwMode="auto">
              <a:xfrm>
                <a:off x="2719388" y="5349704"/>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Servers</a:t>
                </a:r>
              </a:p>
            </p:txBody>
          </p:sp>
          <p:sp>
            <p:nvSpPr>
              <p:cNvPr id="130" name="Rectangle 129"/>
              <p:cNvSpPr/>
              <p:nvPr/>
            </p:nvSpPr>
            <p:spPr bwMode="auto">
              <a:xfrm>
                <a:off x="2719388" y="5783328"/>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Storage</a:t>
                </a:r>
              </a:p>
            </p:txBody>
          </p:sp>
          <p:sp>
            <p:nvSpPr>
              <p:cNvPr id="131" name="Rectangle 130"/>
              <p:cNvSpPr/>
              <p:nvPr/>
            </p:nvSpPr>
            <p:spPr bwMode="auto">
              <a:xfrm>
                <a:off x="2719388" y="6216951"/>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Networking</a:t>
                </a:r>
              </a:p>
            </p:txBody>
          </p:sp>
        </p:grpSp>
      </p:grpSp>
      <p:grpSp>
        <p:nvGrpSpPr>
          <p:cNvPr id="142" name="Group 141"/>
          <p:cNvGrpSpPr/>
          <p:nvPr/>
        </p:nvGrpSpPr>
        <p:grpSpPr>
          <a:xfrm>
            <a:off x="7928372" y="2279630"/>
            <a:ext cx="1974056" cy="4318321"/>
            <a:chOff x="7928372" y="2279630"/>
            <a:chExt cx="1974056" cy="4318321"/>
          </a:xfrm>
        </p:grpSpPr>
        <p:sp>
          <p:nvSpPr>
            <p:cNvPr id="49" name="Rectangle 48"/>
            <p:cNvSpPr/>
            <p:nvPr/>
          </p:nvSpPr>
          <p:spPr>
            <a:xfrm flipH="1">
              <a:off x="7928372" y="2279630"/>
              <a:ext cx="1974056" cy="437043"/>
            </a:xfrm>
            <a:prstGeom prst="rect">
              <a:avLst/>
            </a:prstGeom>
            <a:noFill/>
            <a:ln>
              <a:noFill/>
            </a:ln>
          </p:spPr>
          <p:txBody>
            <a:bodyPr wrap="square">
              <a:spAutoFit/>
            </a:bodyPr>
            <a:lstStyle/>
            <a:p>
              <a:pPr algn="ctr" defTabSz="932324" fontAlgn="base">
                <a:lnSpc>
                  <a:spcPct val="80000"/>
                </a:lnSpc>
                <a:spcBef>
                  <a:spcPct val="0"/>
                </a:spcBef>
                <a:spcAft>
                  <a:spcPct val="0"/>
                </a:spcAft>
              </a:pPr>
              <a:r>
                <a:rPr lang="en-US" sz="1600" kern="0"/>
                <a:t>Platform</a:t>
              </a:r>
            </a:p>
            <a:p>
              <a:pPr algn="ctr" defTabSz="932324" fontAlgn="base">
                <a:lnSpc>
                  <a:spcPct val="80000"/>
                </a:lnSpc>
                <a:spcBef>
                  <a:spcPct val="0"/>
                </a:spcBef>
                <a:spcAft>
                  <a:spcPct val="0"/>
                </a:spcAft>
              </a:pPr>
              <a:r>
                <a:rPr lang="en-US" sz="1200" kern="0"/>
                <a:t>(as a Service)</a:t>
              </a:r>
            </a:p>
          </p:txBody>
        </p:sp>
        <p:grpSp>
          <p:nvGrpSpPr>
            <p:cNvPr id="132" name="Group 131"/>
            <p:cNvGrpSpPr/>
            <p:nvPr/>
          </p:nvGrpSpPr>
          <p:grpSpPr>
            <a:xfrm>
              <a:off x="7928372" y="2747960"/>
              <a:ext cx="1974056" cy="3849991"/>
              <a:chOff x="2719388" y="2747960"/>
              <a:chExt cx="1974056" cy="3849991"/>
            </a:xfrm>
          </p:grpSpPr>
          <p:sp>
            <p:nvSpPr>
              <p:cNvPr id="133" name="Rectangle 132"/>
              <p:cNvSpPr/>
              <p:nvPr/>
            </p:nvSpPr>
            <p:spPr bwMode="auto">
              <a:xfrm>
                <a:off x="2719388" y="2747960"/>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4" name="Rectangle 133"/>
              <p:cNvSpPr/>
              <p:nvPr/>
            </p:nvSpPr>
            <p:spPr bwMode="auto">
              <a:xfrm>
                <a:off x="2719388" y="3181584"/>
                <a:ext cx="1974056" cy="381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Data</a:t>
                </a:r>
              </a:p>
            </p:txBody>
          </p:sp>
          <p:sp>
            <p:nvSpPr>
              <p:cNvPr id="135" name="Rectangle 134"/>
              <p:cNvSpPr/>
              <p:nvPr/>
            </p:nvSpPr>
            <p:spPr bwMode="auto">
              <a:xfrm>
                <a:off x="2719388" y="3615208"/>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Runtime</a:t>
                </a:r>
              </a:p>
            </p:txBody>
          </p:sp>
          <p:sp>
            <p:nvSpPr>
              <p:cNvPr id="136" name="Rectangle 135"/>
              <p:cNvSpPr/>
              <p:nvPr/>
            </p:nvSpPr>
            <p:spPr bwMode="auto">
              <a:xfrm>
                <a:off x="2719388" y="4048832"/>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Middleware</a:t>
                </a:r>
              </a:p>
            </p:txBody>
          </p:sp>
          <p:sp>
            <p:nvSpPr>
              <p:cNvPr id="137" name="Rectangle 136"/>
              <p:cNvSpPr/>
              <p:nvPr/>
            </p:nvSpPr>
            <p:spPr bwMode="auto">
              <a:xfrm>
                <a:off x="2719388" y="4482456"/>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O/S</a:t>
                </a:r>
              </a:p>
            </p:txBody>
          </p:sp>
          <p:sp>
            <p:nvSpPr>
              <p:cNvPr id="138" name="Rectangle 137"/>
              <p:cNvSpPr/>
              <p:nvPr/>
            </p:nvSpPr>
            <p:spPr bwMode="auto">
              <a:xfrm>
                <a:off x="2719388" y="4916080"/>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39" name="Rectangle 138"/>
              <p:cNvSpPr/>
              <p:nvPr/>
            </p:nvSpPr>
            <p:spPr bwMode="auto">
              <a:xfrm>
                <a:off x="2719388" y="5349704"/>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Servers</a:t>
                </a:r>
              </a:p>
            </p:txBody>
          </p:sp>
          <p:sp>
            <p:nvSpPr>
              <p:cNvPr id="140" name="Rectangle 139"/>
              <p:cNvSpPr/>
              <p:nvPr/>
            </p:nvSpPr>
            <p:spPr bwMode="auto">
              <a:xfrm>
                <a:off x="2719388" y="5783328"/>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Storage</a:t>
                </a:r>
              </a:p>
            </p:txBody>
          </p:sp>
          <p:sp>
            <p:nvSpPr>
              <p:cNvPr id="141" name="Rectangle 140"/>
              <p:cNvSpPr/>
              <p:nvPr/>
            </p:nvSpPr>
            <p:spPr bwMode="auto">
              <a:xfrm>
                <a:off x="2719388" y="6216951"/>
                <a:ext cx="1974056" cy="381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Networking</a:t>
                </a:r>
              </a:p>
            </p:txBody>
          </p:sp>
        </p:grpSp>
      </p:grpSp>
    </p:spTree>
    <p:extLst>
      <p:ext uri="{BB962C8B-B14F-4D97-AF65-F5344CB8AC3E}">
        <p14:creationId xmlns:p14="http://schemas.microsoft.com/office/powerpoint/2010/main" val="409656304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932594"/>
            <a:r>
              <a:rPr lang="en-US" sz="4800" spc="-101"/>
              <a:t>Virtual Machine Marketplace images</a:t>
            </a:r>
          </a:p>
        </p:txBody>
      </p:sp>
      <p:sp>
        <p:nvSpPr>
          <p:cNvPr id="7" name="Text Placeholder 1"/>
          <p:cNvSpPr txBox="1">
            <a:spLocks/>
          </p:cNvSpPr>
          <p:nvPr/>
        </p:nvSpPr>
        <p:spPr>
          <a:xfrm>
            <a:off x="366169" y="1266826"/>
            <a:ext cx="7603875" cy="738664"/>
          </a:xfrm>
          <a:prstGeom prst="rect">
            <a:avLst/>
          </a:prstGeom>
        </p:spPr>
        <p:txBody>
          <a:bodyPr vert="horz" wrap="square" lIns="146304" tIns="91440" rIns="146304" bIns="91440" rtlCol="0">
            <a:spAutoFit/>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000">
                <a:solidFill>
                  <a:schemeClr val="accent1"/>
                </a:solidFill>
              </a:rPr>
              <a:t>The Marketplace offers a library of images, both Microsoft and partner provided, which can be used to create IaaS Virtual Machines. </a:t>
            </a:r>
          </a:p>
        </p:txBody>
      </p:sp>
      <p:pic>
        <p:nvPicPr>
          <p:cNvPr id="9" name="Picture 8" descr="A screenshot of a cell phone&#10;&#10;Description generated with very high confidence">
            <a:extLst>
              <a:ext uri="{FF2B5EF4-FFF2-40B4-BE49-F238E27FC236}">
                <a16:creationId xmlns:a16="http://schemas.microsoft.com/office/drawing/2014/main" id="{838B7F95-23A9-4EF5-AA4E-2B62CD5EF060}"/>
              </a:ext>
            </a:extLst>
          </p:cNvPr>
          <p:cNvPicPr>
            <a:picLocks noChangeAspect="1"/>
          </p:cNvPicPr>
          <p:nvPr/>
        </p:nvPicPr>
        <p:blipFill>
          <a:blip r:embed="rId3"/>
          <a:stretch>
            <a:fillRect/>
          </a:stretch>
        </p:blipFill>
        <p:spPr>
          <a:xfrm>
            <a:off x="2001965" y="2222749"/>
            <a:ext cx="8181696" cy="4330005"/>
          </a:xfrm>
          <a:prstGeom prst="rect">
            <a:avLst/>
          </a:prstGeom>
        </p:spPr>
      </p:pic>
    </p:spTree>
    <p:extLst>
      <p:ext uri="{BB962C8B-B14F-4D97-AF65-F5344CB8AC3E}">
        <p14:creationId xmlns:p14="http://schemas.microsoft.com/office/powerpoint/2010/main" val="376506538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18569" y="447678"/>
            <a:ext cx="1154008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Virtual Machine – Marketplace and image models</a:t>
            </a:r>
          </a:p>
        </p:txBody>
      </p:sp>
      <p:sp>
        <p:nvSpPr>
          <p:cNvPr id="7" name="Text Placeholder 1"/>
          <p:cNvSpPr txBox="1">
            <a:spLocks/>
          </p:cNvSpPr>
          <p:nvPr/>
        </p:nvSpPr>
        <p:spPr>
          <a:xfrm>
            <a:off x="518569" y="1992178"/>
            <a:ext cx="11413876" cy="1071062"/>
          </a:xfrm>
          <a:prstGeom prst="rect">
            <a:avLst/>
          </a:prstGeom>
        </p:spPr>
        <p:txBody>
          <a:bodyPr vert="horz" wrap="square" lIns="146304" tIns="91440" rIns="146304" bIns="91440" rtlCol="0">
            <a:spAutoFit/>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3200">
                <a:solidFill>
                  <a:schemeClr val="accent1"/>
                </a:solidFill>
              </a:rPr>
              <a:t>Images make it easier to deploy an application into the Azure environment. The following are the four models of Azure Images:</a:t>
            </a:r>
          </a:p>
        </p:txBody>
      </p:sp>
      <p:graphicFrame>
        <p:nvGraphicFramePr>
          <p:cNvPr id="4" name="Diagram 3"/>
          <p:cNvGraphicFramePr/>
          <p:nvPr>
            <p:extLst/>
          </p:nvPr>
        </p:nvGraphicFramePr>
        <p:xfrm>
          <a:off x="1943100" y="3063240"/>
          <a:ext cx="8662988" cy="37820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7848990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4339650"/>
          </a:xfrm>
        </p:spPr>
        <p:txBody>
          <a:bodyPr/>
          <a:lstStyle/>
          <a:p>
            <a:pPr marL="0" indent="0">
              <a:buNone/>
            </a:pPr>
            <a:r>
              <a:rPr lang="en-US" dirty="0"/>
              <a:t>Introduction</a:t>
            </a:r>
          </a:p>
          <a:p>
            <a:pPr marL="342900" lvl="1" indent="-342900" defTabSz="932594"/>
            <a:r>
              <a:rPr lang="en-US" sz="2000" dirty="0"/>
              <a:t>Offer Cloud solutions to consume</a:t>
            </a:r>
          </a:p>
          <a:p>
            <a:pPr marL="342900" lvl="1" indent="-342900" defTabSz="932594"/>
            <a:r>
              <a:rPr lang="en-US" sz="2000" dirty="0"/>
              <a:t>Publish in Marketplace or</a:t>
            </a:r>
          </a:p>
          <a:p>
            <a:pPr marL="342900" lvl="1" indent="-342900" defTabSz="932594"/>
            <a:r>
              <a:rPr lang="en-US" sz="2000" dirty="0"/>
              <a:t>Publish Internal Catalog for private use</a:t>
            </a:r>
          </a:p>
          <a:p>
            <a:pPr marL="0" lvl="1" indent="0" defTabSz="932594">
              <a:buNone/>
            </a:pPr>
            <a:endParaRPr lang="en-US" sz="2000" dirty="0"/>
          </a:p>
          <a:p>
            <a:pPr marL="0" indent="0">
              <a:buNone/>
            </a:pPr>
            <a:r>
              <a:rPr lang="en-US" dirty="0"/>
              <a:t>Service Catalog</a:t>
            </a:r>
          </a:p>
          <a:p>
            <a:pPr marL="342900" lvl="1" indent="-342900" defTabSz="932594"/>
            <a:r>
              <a:rPr lang="en-US" sz="2000" dirty="0"/>
              <a:t>Internally approved solutions</a:t>
            </a:r>
          </a:p>
          <a:p>
            <a:pPr marL="342900" lvl="1" indent="-342900" defTabSz="932594"/>
            <a:r>
              <a:rPr lang="en-US" sz="2000" dirty="0"/>
              <a:t>Employees search those IT approved</a:t>
            </a:r>
          </a:p>
          <a:p>
            <a:pPr marL="0" lvl="1" indent="0" defTabSz="932594">
              <a:buNone/>
            </a:pPr>
            <a:endParaRPr lang="en-US" sz="2000" dirty="0">
              <a:hlinkClick r:id="rId3"/>
            </a:endParaRPr>
          </a:p>
          <a:p>
            <a:pPr marL="0" lvl="1" indent="0" defTabSz="932594">
              <a:buNone/>
            </a:pPr>
            <a:r>
              <a:rPr lang="en-US" sz="2000" dirty="0">
                <a:hlinkClick r:id="rId3"/>
              </a:rPr>
              <a:t>aka.ms/Azure/</a:t>
            </a:r>
            <a:r>
              <a:rPr lang="en-US" sz="2000" dirty="0" err="1">
                <a:hlinkClick r:id="rId3"/>
              </a:rPr>
              <a:t>ManagedApplications</a:t>
            </a:r>
            <a:r>
              <a:rPr lang="en-US" sz="2000" dirty="0"/>
              <a:t> </a:t>
            </a:r>
          </a:p>
          <a:p>
            <a:pPr marL="0" lvl="1" indent="0" defTabSz="932594">
              <a:buNone/>
            </a:pPr>
            <a:endParaRPr lang="en-US" sz="2000" dirty="0"/>
          </a:p>
        </p:txBody>
      </p:sp>
      <p:sp>
        <p:nvSpPr>
          <p:cNvPr id="3" name="Title 2"/>
          <p:cNvSpPr>
            <a:spLocks noGrp="1"/>
          </p:cNvSpPr>
          <p:nvPr>
            <p:ph type="title"/>
          </p:nvPr>
        </p:nvSpPr>
        <p:spPr/>
        <p:txBody>
          <a:bodyPr/>
          <a:lstStyle/>
          <a:p>
            <a:r>
              <a:rPr lang="en-US" sz="4800" dirty="0"/>
              <a:t>Azure Managed Applications</a:t>
            </a:r>
          </a:p>
        </p:txBody>
      </p:sp>
      <p:pic>
        <p:nvPicPr>
          <p:cNvPr id="6" name="Picture 5">
            <a:extLst>
              <a:ext uri="{FF2B5EF4-FFF2-40B4-BE49-F238E27FC236}">
                <a16:creationId xmlns:a16="http://schemas.microsoft.com/office/drawing/2014/main" id="{16C646EF-E47B-4F10-988D-6A16FF7C93C8}"/>
              </a:ext>
            </a:extLst>
          </p:cNvPr>
          <p:cNvPicPr>
            <a:picLocks noChangeAspect="1"/>
          </p:cNvPicPr>
          <p:nvPr/>
        </p:nvPicPr>
        <p:blipFill>
          <a:blip r:embed="rId4"/>
          <a:stretch>
            <a:fillRect/>
          </a:stretch>
        </p:blipFill>
        <p:spPr>
          <a:xfrm>
            <a:off x="5707304" y="1828376"/>
            <a:ext cx="6202967" cy="2541493"/>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23E23A72-D0BA-49DC-9085-8F4536C221FA}"/>
              </a:ext>
            </a:extLst>
          </p:cNvPr>
          <p:cNvPicPr>
            <a:picLocks noChangeAspect="1"/>
          </p:cNvPicPr>
          <p:nvPr/>
        </p:nvPicPr>
        <p:blipFill>
          <a:blip r:embed="rId5"/>
          <a:stretch>
            <a:fillRect/>
          </a:stretch>
        </p:blipFill>
        <p:spPr>
          <a:xfrm>
            <a:off x="6641048" y="4985392"/>
            <a:ext cx="4572495" cy="89564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01967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5761577"/>
          </a:xfrm>
        </p:spPr>
        <p:txBody>
          <a:bodyPr/>
          <a:lstStyle/>
          <a:p>
            <a:pPr marL="0" indent="0">
              <a:buNone/>
            </a:pPr>
            <a:r>
              <a:rPr lang="en-US" dirty="0"/>
              <a:t>Manual</a:t>
            </a:r>
          </a:p>
          <a:p>
            <a:pPr marL="342900" lvl="1" indent="-342900" defTabSz="932594"/>
            <a:r>
              <a:rPr lang="en-US" sz="2000" dirty="0"/>
              <a:t>Not easily repeatable</a:t>
            </a:r>
          </a:p>
          <a:p>
            <a:pPr marL="342900" lvl="1" indent="-342900" defTabSz="932594"/>
            <a:r>
              <a:rPr lang="en-US" sz="2000" dirty="0"/>
              <a:t>Not easy to copy the deployment to a second region or subscription</a:t>
            </a:r>
          </a:p>
          <a:p>
            <a:pPr marL="0" indent="0">
              <a:buNone/>
            </a:pPr>
            <a:r>
              <a:rPr lang="en-US" dirty="0"/>
              <a:t>Client-driven automation </a:t>
            </a:r>
          </a:p>
          <a:p>
            <a:pPr marL="342900" lvl="1" indent="-342900" defTabSz="932594"/>
            <a:r>
              <a:rPr lang="en-US" sz="2000" dirty="0"/>
              <a:t>Solves a lot of the manual deployment issues</a:t>
            </a:r>
          </a:p>
          <a:p>
            <a:pPr marL="342900" lvl="1" indent="-342900" defTabSz="932594"/>
            <a:r>
              <a:rPr lang="en-US" sz="2000" dirty="0"/>
              <a:t>Burden of deployment logic and dependencies in the script execution and order</a:t>
            </a:r>
          </a:p>
          <a:p>
            <a:pPr marL="342900" lvl="1" indent="-342900" defTabSz="932594"/>
            <a:r>
              <a:rPr lang="en-US" sz="2000" dirty="0"/>
              <a:t>Uses imperative logic</a:t>
            </a:r>
          </a:p>
          <a:p>
            <a:pPr marL="342900" lvl="1" indent="-342900" defTabSz="932594"/>
            <a:r>
              <a:rPr lang="en-US" sz="2000" dirty="0"/>
              <a:t>Hard to parallelize</a:t>
            </a:r>
          </a:p>
          <a:p>
            <a:pPr marL="0" indent="0">
              <a:buNone/>
            </a:pPr>
            <a:r>
              <a:rPr lang="en-US" dirty="0"/>
              <a:t>Cloud Shell </a:t>
            </a:r>
          </a:p>
          <a:p>
            <a:pPr marL="342900" lvl="1" indent="-342900" defTabSz="932594"/>
            <a:r>
              <a:rPr lang="en-US" sz="2000" dirty="0"/>
              <a:t>PowerShell or Azure CLI 2.0 / BASH</a:t>
            </a:r>
          </a:p>
          <a:p>
            <a:pPr marL="342900" lvl="1" indent="-342900" defTabSz="932594"/>
            <a:r>
              <a:rPr lang="en-US" sz="2000" dirty="0"/>
              <a:t>Authenticate and run from	</a:t>
            </a:r>
          </a:p>
          <a:p>
            <a:pPr marL="511175" lvl="2" indent="-342900" defTabSz="932594"/>
            <a:r>
              <a:rPr lang="en-US" sz="1600" dirty="0"/>
              <a:t>Portal.azure.com</a:t>
            </a:r>
          </a:p>
          <a:p>
            <a:pPr marL="511175" lvl="2" indent="-342900" defTabSz="932594"/>
            <a:r>
              <a:rPr lang="en-US" sz="1600" dirty="0"/>
              <a:t>Shell.azure.com</a:t>
            </a:r>
          </a:p>
          <a:p>
            <a:pPr marL="511175" lvl="2" indent="-342900" defTabSz="932594"/>
            <a:r>
              <a:rPr lang="en-US" sz="1600" dirty="0"/>
              <a:t>Mobile App! </a:t>
            </a:r>
            <a:r>
              <a:rPr lang="en-US" sz="1600" dirty="0">
                <a:hlinkClick r:id="rId3"/>
              </a:rPr>
              <a:t>aka.ms/Azure/Mobile</a:t>
            </a:r>
            <a:r>
              <a:rPr lang="en-US" sz="1600" dirty="0"/>
              <a:t> </a:t>
            </a:r>
          </a:p>
          <a:p>
            <a:pPr marL="0" lvl="1" indent="0" defTabSz="932594">
              <a:buNone/>
            </a:pPr>
            <a:endParaRPr lang="en-US" sz="2000" dirty="0"/>
          </a:p>
        </p:txBody>
      </p:sp>
      <p:sp>
        <p:nvSpPr>
          <p:cNvPr id="3" name="Title 2"/>
          <p:cNvSpPr>
            <a:spLocks noGrp="1"/>
          </p:cNvSpPr>
          <p:nvPr>
            <p:ph type="title"/>
          </p:nvPr>
        </p:nvSpPr>
        <p:spPr/>
        <p:txBody>
          <a:bodyPr/>
          <a:lstStyle/>
          <a:p>
            <a:r>
              <a:rPr lang="en-US" sz="4800"/>
              <a:t>Deployment options</a:t>
            </a:r>
          </a:p>
        </p:txBody>
      </p:sp>
      <p:pic>
        <p:nvPicPr>
          <p:cNvPr id="2" name="Picture 1">
            <a:extLst>
              <a:ext uri="{FF2B5EF4-FFF2-40B4-BE49-F238E27FC236}">
                <a16:creationId xmlns:a16="http://schemas.microsoft.com/office/drawing/2014/main" id="{40D2C95C-C26C-488C-82AE-F58F6072362E}"/>
              </a:ext>
            </a:extLst>
          </p:cNvPr>
          <p:cNvPicPr>
            <a:picLocks noChangeAspect="1"/>
          </p:cNvPicPr>
          <p:nvPr/>
        </p:nvPicPr>
        <p:blipFill>
          <a:blip r:embed="rId4"/>
          <a:stretch>
            <a:fillRect/>
          </a:stretch>
        </p:blipFill>
        <p:spPr>
          <a:xfrm>
            <a:off x="7391281" y="4263101"/>
            <a:ext cx="3724302" cy="232411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079268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3508653"/>
          </a:xfrm>
        </p:spPr>
        <p:txBody>
          <a:bodyPr/>
          <a:lstStyle/>
          <a:p>
            <a:pPr marL="0" indent="0">
              <a:buNone/>
            </a:pPr>
            <a:r>
              <a:rPr lang="en-US" dirty="0"/>
              <a:t>Cloud-based orchestration engine</a:t>
            </a:r>
          </a:p>
          <a:p>
            <a:pPr marL="0" indent="0">
              <a:buNone/>
            </a:pPr>
            <a:r>
              <a:rPr lang="en-US" dirty="0"/>
              <a:t>Fully declarative</a:t>
            </a:r>
          </a:p>
          <a:p>
            <a:pPr marL="0" indent="0">
              <a:buNone/>
            </a:pPr>
            <a:r>
              <a:rPr lang="en-US" dirty="0"/>
              <a:t>Automatically optimizes the deployment based on dependency graph</a:t>
            </a:r>
          </a:p>
          <a:p>
            <a:pPr marL="0" indent="0">
              <a:buNone/>
            </a:pPr>
            <a:r>
              <a:rPr lang="en-US" dirty="0"/>
              <a:t>Complements and integrates PowerShell automation for deployment tasks</a:t>
            </a:r>
          </a:p>
        </p:txBody>
      </p:sp>
      <p:sp>
        <p:nvSpPr>
          <p:cNvPr id="3" name="Title 2"/>
          <p:cNvSpPr>
            <a:spLocks noGrp="1"/>
          </p:cNvSpPr>
          <p:nvPr>
            <p:ph type="title"/>
          </p:nvPr>
        </p:nvSpPr>
        <p:spPr/>
        <p:txBody>
          <a:bodyPr/>
          <a:lstStyle/>
          <a:p>
            <a:r>
              <a:rPr lang="en-US" sz="4800"/>
              <a:t>Deployment options – ARM templates</a:t>
            </a:r>
          </a:p>
        </p:txBody>
      </p:sp>
    </p:spTree>
    <p:extLst>
      <p:ext uri="{BB962C8B-B14F-4D97-AF65-F5344CB8AC3E}">
        <p14:creationId xmlns:p14="http://schemas.microsoft.com/office/powerpoint/2010/main" val="40635797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9" y="1212850"/>
            <a:ext cx="5546476" cy="4493538"/>
          </a:xfrm>
        </p:spPr>
        <p:txBody>
          <a:bodyPr/>
          <a:lstStyle/>
          <a:p>
            <a:pPr marL="0" indent="0">
              <a:buNone/>
            </a:pPr>
            <a:r>
              <a:rPr lang="en-US" dirty="0"/>
              <a:t>Azure templates can:</a:t>
            </a:r>
          </a:p>
          <a:p>
            <a:pPr marL="342900" lvl="1" indent="-342900" defTabSz="932594"/>
            <a:r>
              <a:rPr lang="en-US" sz="2000" dirty="0"/>
              <a:t>Ensure idempotency</a:t>
            </a:r>
          </a:p>
          <a:p>
            <a:pPr marL="342900" lvl="1" indent="-342900" defTabSz="932594"/>
            <a:r>
              <a:rPr lang="en-US" sz="2000" dirty="0"/>
              <a:t>Simplify orchestration</a:t>
            </a:r>
          </a:p>
          <a:p>
            <a:pPr marL="342900" lvl="1" indent="-342900" defTabSz="932594"/>
            <a:r>
              <a:rPr lang="en-US" sz="2000" dirty="0"/>
              <a:t>Simplify roll-back</a:t>
            </a:r>
          </a:p>
          <a:p>
            <a:pPr marL="342900" lvl="1" indent="-342900" defTabSz="932594"/>
            <a:r>
              <a:rPr lang="en-US" sz="2000" dirty="0"/>
              <a:t>Provide cross-resource configuration and update support </a:t>
            </a:r>
          </a:p>
          <a:p>
            <a:pPr marL="0" indent="0">
              <a:buNone/>
            </a:pPr>
            <a:r>
              <a:rPr lang="en-US" dirty="0"/>
              <a:t>Azure templates are: </a:t>
            </a:r>
          </a:p>
          <a:p>
            <a:pPr marL="342900" lvl="1" indent="-342900" defTabSz="932594"/>
            <a:r>
              <a:rPr lang="en-US" sz="2000" dirty="0"/>
              <a:t>Source file, checked-in</a:t>
            </a:r>
          </a:p>
          <a:p>
            <a:pPr marL="342900" lvl="1" indent="-342900" defTabSz="932594"/>
            <a:r>
              <a:rPr lang="en-US" sz="2000" dirty="0"/>
              <a:t>Specifies resources and dependencies (VMs, Web Apps, DBs) and connections (config, LB sets)</a:t>
            </a:r>
          </a:p>
          <a:p>
            <a:pPr marL="342900" lvl="1" indent="-342900" defTabSz="932594"/>
            <a:r>
              <a:rPr lang="en-US" sz="2000" dirty="0"/>
              <a:t>Parametrized input/output</a:t>
            </a:r>
          </a:p>
        </p:txBody>
      </p:sp>
      <p:sp>
        <p:nvSpPr>
          <p:cNvPr id="3" name="Title 2"/>
          <p:cNvSpPr>
            <a:spLocks noGrp="1"/>
          </p:cNvSpPr>
          <p:nvPr>
            <p:ph type="title"/>
          </p:nvPr>
        </p:nvSpPr>
        <p:spPr/>
        <p:txBody>
          <a:bodyPr/>
          <a:lstStyle/>
          <a:p>
            <a:r>
              <a:rPr lang="en-US" sz="4800"/>
              <a:t>Power of repeatability</a:t>
            </a:r>
          </a:p>
        </p:txBody>
      </p:sp>
      <p:sp>
        <p:nvSpPr>
          <p:cNvPr id="81" name="Rectangle 80"/>
          <p:cNvSpPr/>
          <p:nvPr/>
        </p:nvSpPr>
        <p:spPr bwMode="auto">
          <a:xfrm>
            <a:off x="7741444" y="1439862"/>
            <a:ext cx="2562459" cy="975591"/>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9929" tIns="69929" rIns="26227" bIns="26227" rtlCol="0" anchor="t" anchorCtr="0"/>
          <a:lstStyle/>
          <a:p>
            <a:pPr defTabSz="712988"/>
            <a:r>
              <a:rPr lang="en-US" sz="1071">
                <a:solidFill>
                  <a:schemeClr val="tx1"/>
                </a:solidFill>
                <a:ea typeface="Segoe UI" pitchFamily="34" charset="0"/>
                <a:cs typeface="Segoe UI" pitchFamily="34" charset="0"/>
              </a:rPr>
              <a:t>Instantiation of repeatable config.</a:t>
            </a:r>
            <a:endParaRPr lang="en-US" sz="841">
              <a:solidFill>
                <a:schemeClr val="tx1"/>
              </a:solidFill>
              <a:ea typeface="Segoe UI" pitchFamily="34" charset="0"/>
              <a:cs typeface="Segoe UI" pitchFamily="34" charset="0"/>
            </a:endParaRPr>
          </a:p>
          <a:p>
            <a:pPr defTabSz="712988"/>
            <a:r>
              <a:rPr lang="en-US" sz="918" i="1">
                <a:solidFill>
                  <a:schemeClr val="tx1"/>
                </a:solidFill>
                <a:ea typeface="Segoe UI" pitchFamily="34" charset="0"/>
                <a:cs typeface="Segoe UI" pitchFamily="34" charset="0"/>
              </a:rPr>
              <a:t>Configuration </a:t>
            </a:r>
            <a:r>
              <a:rPr lang="en-US" sz="918" i="1">
                <a:solidFill>
                  <a:schemeClr val="tx1"/>
                </a:solidFill>
                <a:ea typeface="Segoe UI" pitchFamily="34" charset="0"/>
                <a:cs typeface="Segoe UI" pitchFamily="34" charset="0"/>
                <a:sym typeface="Wingdings" panose="05000000000000000000" pitchFamily="2" charset="2"/>
              </a:rPr>
              <a:t> </a:t>
            </a:r>
            <a:r>
              <a:rPr lang="en-US" sz="918" i="1">
                <a:solidFill>
                  <a:schemeClr val="tx1"/>
                </a:solidFill>
                <a:ea typeface="Segoe UI" pitchFamily="34" charset="0"/>
                <a:cs typeface="Segoe UI" pitchFamily="34" charset="0"/>
              </a:rPr>
              <a:t>Resource group</a:t>
            </a:r>
          </a:p>
        </p:txBody>
      </p:sp>
      <p:grpSp>
        <p:nvGrpSpPr>
          <p:cNvPr id="82" name="Group 4"/>
          <p:cNvGrpSpPr>
            <a:grpSpLocks noChangeAspect="1"/>
          </p:cNvGrpSpPr>
          <p:nvPr/>
        </p:nvGrpSpPr>
        <p:grpSpPr bwMode="auto">
          <a:xfrm>
            <a:off x="6249779" y="1990574"/>
            <a:ext cx="5285982" cy="4336592"/>
            <a:chOff x="2863" y="318"/>
            <a:chExt cx="4354" cy="3572"/>
          </a:xfrm>
        </p:grpSpPr>
        <p:sp>
          <p:nvSpPr>
            <p:cNvPr id="83"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84"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85"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86"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87"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88"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89"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90"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91"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92"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93"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94"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95" name="Rectangle 16"/>
            <p:cNvSpPr>
              <a:spLocks noChangeArrowheads="1"/>
            </p:cNvSpPr>
            <p:nvPr/>
          </p:nvSpPr>
          <p:spPr bwMode="auto">
            <a:xfrm>
              <a:off x="3398" y="2838"/>
              <a:ext cx="592"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683">
                  <a:solidFill>
                    <a:srgbClr val="FFFFFF"/>
                  </a:solidFill>
                  <a:latin typeface="Segoe Pro Display Light" panose="020B0302040504020203" pitchFamily="34" charset="0"/>
                </a:rPr>
                <a:t>SQL - A</a:t>
              </a:r>
              <a:endParaRPr lang="en-US" altLang="en-US" sz="1377">
                <a:solidFill>
                  <a:srgbClr val="00B0F0"/>
                </a:solidFill>
              </a:endParaRPr>
            </a:p>
          </p:txBody>
        </p:sp>
        <p:sp>
          <p:nvSpPr>
            <p:cNvPr id="96"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97"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98"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99"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0"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1"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2"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3"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4"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5"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6"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7"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8"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9"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0" name="Rectangle 31"/>
            <p:cNvSpPr>
              <a:spLocks noChangeArrowheads="1"/>
            </p:cNvSpPr>
            <p:nvPr/>
          </p:nvSpPr>
          <p:spPr bwMode="auto">
            <a:xfrm>
              <a:off x="4884" y="2838"/>
              <a:ext cx="701"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683" dirty="0">
                  <a:solidFill>
                    <a:srgbClr val="FFFFFF"/>
                  </a:solidFill>
                  <a:latin typeface="Segoe Pro Display Light" panose="020B0302040504020203" pitchFamily="34" charset="0"/>
                </a:rPr>
                <a:t>Web App</a:t>
              </a:r>
              <a:endParaRPr lang="en-US" altLang="en-US" sz="1377" dirty="0">
                <a:solidFill>
                  <a:srgbClr val="00B0F0"/>
                </a:solidFill>
              </a:endParaRPr>
            </a:p>
          </p:txBody>
        </p:sp>
        <p:sp>
          <p:nvSpPr>
            <p:cNvPr id="111"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2"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3"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4"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5"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6"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7"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8"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9"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20"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21"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22"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23"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24"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25"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26" name="Rectangle 47"/>
            <p:cNvSpPr>
              <a:spLocks noChangeArrowheads="1"/>
            </p:cNvSpPr>
            <p:nvPr/>
          </p:nvSpPr>
          <p:spPr bwMode="auto">
            <a:xfrm>
              <a:off x="6417" y="2788"/>
              <a:ext cx="483"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683">
                  <a:solidFill>
                    <a:srgbClr val="FFFFFF"/>
                  </a:solidFill>
                  <a:latin typeface="Segoe Pro Display Light" panose="020B0302040504020203" pitchFamily="34" charset="0"/>
                </a:rPr>
                <a:t>Virtual</a:t>
              </a:r>
            </a:p>
          </p:txBody>
        </p:sp>
        <p:sp>
          <p:nvSpPr>
            <p:cNvPr id="127" name="Rectangle 48"/>
            <p:cNvSpPr>
              <a:spLocks noChangeArrowheads="1"/>
            </p:cNvSpPr>
            <p:nvPr/>
          </p:nvSpPr>
          <p:spPr bwMode="auto">
            <a:xfrm>
              <a:off x="6417" y="2933"/>
              <a:ext cx="701"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683">
                  <a:solidFill>
                    <a:srgbClr val="FFFFFF"/>
                  </a:solidFill>
                  <a:latin typeface="Segoe Pro Display Light" panose="020B0302040504020203" pitchFamily="34" charset="0"/>
                </a:rPr>
                <a:t>Machines</a:t>
              </a:r>
            </a:p>
          </p:txBody>
        </p:sp>
        <p:sp>
          <p:nvSpPr>
            <p:cNvPr id="128"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29"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30"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31"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32"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33" name="Rectangle 54"/>
            <p:cNvSpPr>
              <a:spLocks noChangeArrowheads="1"/>
            </p:cNvSpPr>
            <p:nvPr/>
          </p:nvSpPr>
          <p:spPr bwMode="auto">
            <a:xfrm>
              <a:off x="4731" y="523"/>
              <a:ext cx="560"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912">
                  <a:solidFill>
                    <a:srgbClr val="414042"/>
                  </a:solidFill>
                  <a:latin typeface="Segoe Pro Display Light" panose="020B0302040504020203" pitchFamily="34" charset="0"/>
                </a:rPr>
                <a:t>SQL-A</a:t>
              </a:r>
              <a:endParaRPr lang="en-US" altLang="en-US" sz="1377">
                <a:solidFill>
                  <a:srgbClr val="00B0F0"/>
                </a:solidFill>
              </a:endParaRPr>
            </a:p>
          </p:txBody>
        </p:sp>
        <p:sp>
          <p:nvSpPr>
            <p:cNvPr id="134" name="Rectangle 55"/>
            <p:cNvSpPr>
              <a:spLocks noChangeArrowheads="1"/>
            </p:cNvSpPr>
            <p:nvPr/>
          </p:nvSpPr>
          <p:spPr bwMode="auto">
            <a:xfrm>
              <a:off x="4623" y="738"/>
              <a:ext cx="798"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912" dirty="0">
                  <a:solidFill>
                    <a:srgbClr val="414042"/>
                  </a:solidFill>
                  <a:latin typeface="Segoe Pro Display Light" panose="020B0302040504020203" pitchFamily="34" charset="0"/>
                </a:rPr>
                <a:t>Web App</a:t>
              </a:r>
              <a:endParaRPr lang="en-US" altLang="en-US" sz="1377" dirty="0">
                <a:solidFill>
                  <a:srgbClr val="00B0F0"/>
                </a:solidFill>
              </a:endParaRPr>
            </a:p>
          </p:txBody>
        </p:sp>
        <p:sp>
          <p:nvSpPr>
            <p:cNvPr id="135" name="Rectangle 56"/>
            <p:cNvSpPr>
              <a:spLocks noChangeArrowheads="1"/>
            </p:cNvSpPr>
            <p:nvPr/>
          </p:nvSpPr>
          <p:spPr bwMode="auto">
            <a:xfrm>
              <a:off x="4676" y="1020"/>
              <a:ext cx="6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612" b="1">
                  <a:solidFill>
                    <a:srgbClr val="414042"/>
                  </a:solidFill>
                  <a:latin typeface="Segoe Pro Display Semibold" panose="020B0702040504020203" pitchFamily="34" charset="0"/>
                </a:rPr>
                <a:t>[SQL CONFIG] VM (2x)</a:t>
              </a:r>
              <a:endParaRPr lang="en-US" altLang="en-US" sz="1377">
                <a:solidFill>
                  <a:srgbClr val="00B0F0"/>
                </a:solidFill>
              </a:endParaRPr>
            </a:p>
          </p:txBody>
        </p:sp>
        <p:sp>
          <p:nvSpPr>
            <p:cNvPr id="136"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37"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38"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39"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0"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1"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2"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3"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4"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5"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6"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7" name="Rectangle 68"/>
            <p:cNvSpPr>
              <a:spLocks noChangeArrowheads="1"/>
            </p:cNvSpPr>
            <p:nvPr/>
          </p:nvSpPr>
          <p:spPr bwMode="auto">
            <a:xfrm>
              <a:off x="6236" y="2141"/>
              <a:ext cx="5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688" b="1">
                  <a:solidFill>
                    <a:srgbClr val="FFFFFF"/>
                  </a:solidFill>
                  <a:latin typeface="Segoe UI Semibold" panose="020B0702040204020203" pitchFamily="34" charset="0"/>
                </a:rPr>
                <a:t>DEPENDS ON SQL</a:t>
              </a:r>
              <a:endParaRPr lang="en-US" altLang="en-US" sz="1377">
                <a:solidFill>
                  <a:srgbClr val="00B0F0"/>
                </a:solidFill>
              </a:endParaRPr>
            </a:p>
          </p:txBody>
        </p:sp>
        <p:sp>
          <p:nvSpPr>
            <p:cNvPr id="148"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9" name="Rectangle 70"/>
            <p:cNvSpPr>
              <a:spLocks noChangeArrowheads="1"/>
            </p:cNvSpPr>
            <p:nvPr/>
          </p:nvSpPr>
          <p:spPr bwMode="auto">
            <a:xfrm>
              <a:off x="4713" y="2141"/>
              <a:ext cx="5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688" b="1">
                  <a:solidFill>
                    <a:srgbClr val="FFFFFF"/>
                  </a:solidFill>
                  <a:latin typeface="Segoe UI Semibold" panose="020B0702040204020203" pitchFamily="34" charset="0"/>
                </a:rPr>
                <a:t>DEPENDS ON SQL</a:t>
              </a:r>
              <a:endParaRPr lang="en-US" altLang="en-US" sz="1377">
                <a:solidFill>
                  <a:srgbClr val="00B0F0"/>
                </a:solidFill>
              </a:endParaRPr>
            </a:p>
          </p:txBody>
        </p:sp>
        <p:sp>
          <p:nvSpPr>
            <p:cNvPr id="150"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51"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52"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53"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54" name="Rectangle 75"/>
            <p:cNvSpPr>
              <a:spLocks noChangeArrowheads="1"/>
            </p:cNvSpPr>
            <p:nvPr/>
          </p:nvSpPr>
          <p:spPr bwMode="auto">
            <a:xfrm>
              <a:off x="4023" y="3702"/>
              <a:ext cx="1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841" b="1">
                  <a:solidFill>
                    <a:srgbClr val="FFFFFF"/>
                  </a:solidFill>
                  <a:latin typeface="Segoe UI Semibold" panose="020B0702040204020203" pitchFamily="34" charset="0"/>
                </a:rPr>
                <a:t>SQL</a:t>
              </a:r>
              <a:endParaRPr lang="en-US" altLang="en-US" sz="1377">
                <a:solidFill>
                  <a:srgbClr val="00B0F0"/>
                </a:solidFill>
              </a:endParaRPr>
            </a:p>
          </p:txBody>
        </p:sp>
        <p:sp>
          <p:nvSpPr>
            <p:cNvPr id="155" name="Rectangle 76"/>
            <p:cNvSpPr>
              <a:spLocks noChangeArrowheads="1"/>
            </p:cNvSpPr>
            <p:nvPr/>
          </p:nvSpPr>
          <p:spPr bwMode="auto">
            <a:xfrm>
              <a:off x="4204" y="3702"/>
              <a:ext cx="5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841" b="1">
                  <a:solidFill>
                    <a:srgbClr val="FFFFFF"/>
                  </a:solidFill>
                  <a:latin typeface="Segoe UI Semibold" panose="020B0702040204020203" pitchFamily="34" charset="0"/>
                </a:rPr>
                <a:t>C</a:t>
              </a:r>
              <a:endParaRPr lang="en-US" altLang="en-US" sz="1377">
                <a:solidFill>
                  <a:srgbClr val="00B0F0"/>
                </a:solidFill>
              </a:endParaRPr>
            </a:p>
          </p:txBody>
        </p:sp>
        <p:sp>
          <p:nvSpPr>
            <p:cNvPr id="156" name="Rectangle 77"/>
            <p:cNvSpPr>
              <a:spLocks noChangeArrowheads="1"/>
            </p:cNvSpPr>
            <p:nvPr/>
          </p:nvSpPr>
          <p:spPr bwMode="auto">
            <a:xfrm>
              <a:off x="4257" y="3702"/>
              <a:ext cx="26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841" b="1">
                  <a:solidFill>
                    <a:srgbClr val="FFFFFF"/>
                  </a:solidFill>
                  <a:latin typeface="Segoe UI Semibold" panose="020B0702040204020203" pitchFamily="34" charset="0"/>
                </a:rPr>
                <a:t>ONFIG</a:t>
              </a:r>
              <a:endParaRPr lang="en-US" altLang="en-US" sz="1377">
                <a:solidFill>
                  <a:srgbClr val="00B0F0"/>
                </a:solidFill>
              </a:endParaRPr>
            </a:p>
          </p:txBody>
        </p:sp>
      </p:grpSp>
    </p:spTree>
    <p:extLst>
      <p:ext uri="{BB962C8B-B14F-4D97-AF65-F5344CB8AC3E}">
        <p14:creationId xmlns:p14="http://schemas.microsoft.com/office/powerpoint/2010/main" val="3139959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9" y="1212850"/>
            <a:ext cx="5546476" cy="683264"/>
          </a:xfrm>
        </p:spPr>
        <p:txBody>
          <a:bodyPr/>
          <a:lstStyle/>
          <a:p>
            <a:pPr marL="0" indent="0">
              <a:buNone/>
            </a:pPr>
            <a:r>
              <a:rPr lang="en-US"/>
              <a:t>Building a Virtual Machine</a:t>
            </a:r>
          </a:p>
        </p:txBody>
      </p:sp>
      <p:sp>
        <p:nvSpPr>
          <p:cNvPr id="3" name="Title 2"/>
          <p:cNvSpPr>
            <a:spLocks noGrp="1"/>
          </p:cNvSpPr>
          <p:nvPr>
            <p:ph type="title"/>
          </p:nvPr>
        </p:nvSpPr>
        <p:spPr/>
        <p:txBody>
          <a:bodyPr/>
          <a:lstStyle/>
          <a:p>
            <a:r>
              <a:rPr lang="en-US" sz="4800"/>
              <a:t>Azure Resource Manager</a:t>
            </a:r>
          </a:p>
        </p:txBody>
      </p:sp>
      <p:grpSp>
        <p:nvGrpSpPr>
          <p:cNvPr id="80" name="Group 79"/>
          <p:cNvGrpSpPr/>
          <p:nvPr/>
        </p:nvGrpSpPr>
        <p:grpSpPr>
          <a:xfrm>
            <a:off x="1874414" y="1973262"/>
            <a:ext cx="4813944" cy="4092978"/>
            <a:chOff x="6581595" y="1353186"/>
            <a:chExt cx="5151693" cy="4489624"/>
          </a:xfrm>
        </p:grpSpPr>
        <p:sp>
          <p:nvSpPr>
            <p:cNvPr id="157" name="Rounded Rectangle 3"/>
            <p:cNvSpPr/>
            <p:nvPr/>
          </p:nvSpPr>
          <p:spPr bwMode="auto">
            <a:xfrm>
              <a:off x="6581595" y="1830772"/>
              <a:ext cx="5151693" cy="4012038"/>
            </a:xfrm>
            <a:prstGeom prst="roundRect">
              <a:avLst/>
            </a:prstGeom>
            <a:noFill/>
            <a:ln w="25400">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noProof="1">
                <a:solidFill>
                  <a:schemeClr val="tx1"/>
                </a:solidFill>
                <a:ea typeface="Segoe UI" pitchFamily="34" charset="0"/>
                <a:cs typeface="Segoe UI" pitchFamily="34" charset="0"/>
              </a:endParaRPr>
            </a:p>
          </p:txBody>
        </p:sp>
        <p:sp>
          <p:nvSpPr>
            <p:cNvPr id="158" name="TextBox 157"/>
            <p:cNvSpPr txBox="1"/>
            <p:nvPr/>
          </p:nvSpPr>
          <p:spPr>
            <a:xfrm>
              <a:off x="6675176" y="1353186"/>
              <a:ext cx="1966410" cy="411172"/>
            </a:xfrm>
            <a:prstGeom prst="rect">
              <a:avLst/>
            </a:prstGeom>
            <a:noFill/>
          </p:spPr>
          <p:txBody>
            <a:bodyPr wrap="none" rtlCol="0">
              <a:spAutoFit/>
            </a:bodyPr>
            <a:lstStyle/>
            <a:p>
              <a:r>
                <a:rPr lang="en-US" sz="1836" noProof="1"/>
                <a:t>Resource group</a:t>
              </a:r>
            </a:p>
          </p:txBody>
        </p:sp>
      </p:grpSp>
      <p:grpSp>
        <p:nvGrpSpPr>
          <p:cNvPr id="159" name="Group 158"/>
          <p:cNvGrpSpPr/>
          <p:nvPr/>
        </p:nvGrpSpPr>
        <p:grpSpPr>
          <a:xfrm>
            <a:off x="3293045" y="2739913"/>
            <a:ext cx="2062365" cy="2396363"/>
            <a:chOff x="7021426" y="2789655"/>
            <a:chExt cx="1874816" cy="1296510"/>
          </a:xfrm>
        </p:grpSpPr>
        <p:sp>
          <p:nvSpPr>
            <p:cNvPr id="160" name="Rounded Rectangle 15"/>
            <p:cNvSpPr/>
            <p:nvPr/>
          </p:nvSpPr>
          <p:spPr bwMode="auto">
            <a:xfrm>
              <a:off x="7021426" y="2789655"/>
              <a:ext cx="1874816" cy="1296510"/>
            </a:xfrm>
            <a:prstGeom prst="roundRect">
              <a:avLst/>
            </a:prstGeom>
            <a:noFill/>
            <a:ln w="25400">
              <a:solidFill>
                <a:schemeClr val="accent6"/>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noProof="1">
                <a:solidFill>
                  <a:schemeClr val="tx1"/>
                </a:solidFill>
                <a:ea typeface="Segoe UI" pitchFamily="34" charset="0"/>
                <a:cs typeface="Segoe UI" pitchFamily="34" charset="0"/>
              </a:endParaRPr>
            </a:p>
          </p:txBody>
        </p:sp>
        <p:sp>
          <p:nvSpPr>
            <p:cNvPr id="161" name="TextBox 160"/>
            <p:cNvSpPr txBox="1"/>
            <p:nvPr/>
          </p:nvSpPr>
          <p:spPr>
            <a:xfrm>
              <a:off x="7882823" y="2798606"/>
              <a:ext cx="610870" cy="151878"/>
            </a:xfrm>
            <a:prstGeom prst="rect">
              <a:avLst/>
            </a:prstGeom>
            <a:noFill/>
          </p:spPr>
          <p:txBody>
            <a:bodyPr wrap="none" rtlCol="0">
              <a:spAutoFit/>
            </a:bodyPr>
            <a:lstStyle/>
            <a:p>
              <a:r>
                <a:rPr lang="en-US" sz="1200" noProof="1"/>
                <a:t>Subnet</a:t>
              </a:r>
              <a:endParaRPr lang="en-US" sz="1224" noProof="1"/>
            </a:p>
          </p:txBody>
        </p:sp>
      </p:grpSp>
      <p:grpSp>
        <p:nvGrpSpPr>
          <p:cNvPr id="162" name="Group 161"/>
          <p:cNvGrpSpPr/>
          <p:nvPr/>
        </p:nvGrpSpPr>
        <p:grpSpPr>
          <a:xfrm>
            <a:off x="5739639" y="4815712"/>
            <a:ext cx="981551" cy="934177"/>
            <a:chOff x="10150511" y="4293902"/>
            <a:chExt cx="1283297" cy="1221361"/>
          </a:xfrm>
        </p:grpSpPr>
        <p:pic>
          <p:nvPicPr>
            <p:cNvPr id="163" name="Picture 162"/>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407372" y="4760264"/>
              <a:ext cx="754999" cy="75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 name="TextBox 163"/>
            <p:cNvSpPr txBox="1"/>
            <p:nvPr/>
          </p:nvSpPr>
          <p:spPr>
            <a:xfrm>
              <a:off x="10150511" y="4293902"/>
              <a:ext cx="1283297" cy="490081"/>
            </a:xfrm>
            <a:prstGeom prst="rect">
              <a:avLst/>
            </a:prstGeom>
            <a:noFill/>
          </p:spPr>
          <p:txBody>
            <a:bodyPr wrap="none" rtlCol="0">
              <a:spAutoFit/>
            </a:bodyPr>
            <a:lstStyle/>
            <a:p>
              <a:r>
                <a:rPr lang="en-US" noProof="1"/>
                <a:t>Storage</a:t>
              </a:r>
              <a:endParaRPr lang="en-US" sz="1836" noProof="1"/>
            </a:p>
          </p:txBody>
        </p:sp>
      </p:grpSp>
      <p:grpSp>
        <p:nvGrpSpPr>
          <p:cNvPr id="165" name="Group 164"/>
          <p:cNvGrpSpPr/>
          <p:nvPr/>
        </p:nvGrpSpPr>
        <p:grpSpPr>
          <a:xfrm>
            <a:off x="3556666" y="3114111"/>
            <a:ext cx="1631234" cy="825408"/>
            <a:chOff x="7165720" y="3276805"/>
            <a:chExt cx="1032266" cy="747678"/>
          </a:xfrm>
        </p:grpSpPr>
        <p:pic>
          <p:nvPicPr>
            <p:cNvPr id="166" name="Picture 165"/>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TextBox 166"/>
            <p:cNvSpPr txBox="1"/>
            <p:nvPr/>
          </p:nvSpPr>
          <p:spPr>
            <a:xfrm>
              <a:off x="7793220" y="3276805"/>
              <a:ext cx="404766" cy="334551"/>
            </a:xfrm>
            <a:prstGeom prst="rect">
              <a:avLst/>
            </a:prstGeom>
            <a:noFill/>
          </p:spPr>
          <p:txBody>
            <a:bodyPr wrap="square" rtlCol="0">
              <a:spAutoFit/>
            </a:bodyPr>
            <a:lstStyle/>
            <a:p>
              <a:r>
                <a:rPr lang="en-US" noProof="1"/>
                <a:t>VM</a:t>
              </a:r>
            </a:p>
          </p:txBody>
        </p:sp>
      </p:grpSp>
      <p:grpSp>
        <p:nvGrpSpPr>
          <p:cNvPr id="168" name="Group 167"/>
          <p:cNvGrpSpPr>
            <a:grpSpLocks noChangeAspect="1"/>
          </p:cNvGrpSpPr>
          <p:nvPr/>
        </p:nvGrpSpPr>
        <p:grpSpPr bwMode="auto">
          <a:xfrm>
            <a:off x="3034721" y="2397041"/>
            <a:ext cx="2606414" cy="3275482"/>
            <a:chOff x="4799" y="1203"/>
            <a:chExt cx="1945" cy="796"/>
          </a:xfrm>
        </p:grpSpPr>
        <p:sp>
          <p:nvSpPr>
            <p:cNvPr id="169" name="AutoShape 3"/>
            <p:cNvSpPr>
              <a:spLocks noChangeAspect="1" noChangeArrowheads="1" noTextEdit="1"/>
            </p:cNvSpPr>
            <p:nvPr/>
          </p:nvSpPr>
          <p:spPr bwMode="auto">
            <a:xfrm>
              <a:off x="4799" y="1203"/>
              <a:ext cx="1945" cy="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en-US" sz="1377" noProof="1"/>
            </a:p>
          </p:txBody>
        </p:sp>
        <p:sp>
          <p:nvSpPr>
            <p:cNvPr id="170" name="Freeform 26"/>
            <p:cNvSpPr>
              <a:spLocks noEditPoints="1"/>
            </p:cNvSpPr>
            <p:nvPr/>
          </p:nvSpPr>
          <p:spPr bwMode="auto">
            <a:xfrm>
              <a:off x="4813" y="1217"/>
              <a:ext cx="1922" cy="774"/>
            </a:xfrm>
            <a:custGeom>
              <a:avLst/>
              <a:gdLst>
                <a:gd name="T0" fmla="*/ 11 w 2134"/>
                <a:gd name="T1" fmla="*/ 16 h 855"/>
                <a:gd name="T2" fmla="*/ 11 w 2134"/>
                <a:gd name="T3" fmla="*/ 69 h 855"/>
                <a:gd name="T4" fmla="*/ 11 w 2134"/>
                <a:gd name="T5" fmla="*/ 123 h 855"/>
                <a:gd name="T6" fmla="*/ 11 w 2134"/>
                <a:gd name="T7" fmla="*/ 177 h 855"/>
                <a:gd name="T8" fmla="*/ 11 w 2134"/>
                <a:gd name="T9" fmla="*/ 229 h 855"/>
                <a:gd name="T10" fmla="*/ 11 w 2134"/>
                <a:gd name="T11" fmla="*/ 282 h 855"/>
                <a:gd name="T12" fmla="*/ 11 w 2134"/>
                <a:gd name="T13" fmla="*/ 335 h 855"/>
                <a:gd name="T14" fmla="*/ 11 w 2134"/>
                <a:gd name="T15" fmla="*/ 387 h 855"/>
                <a:gd name="T16" fmla="*/ 26 w 2134"/>
                <a:gd name="T17" fmla="*/ 415 h 855"/>
                <a:gd name="T18" fmla="*/ 77 w 2134"/>
                <a:gd name="T19" fmla="*/ 415 h 855"/>
                <a:gd name="T20" fmla="*/ 129 w 2134"/>
                <a:gd name="T21" fmla="*/ 415 h 855"/>
                <a:gd name="T22" fmla="*/ 180 w 2134"/>
                <a:gd name="T23" fmla="*/ 415 h 855"/>
                <a:gd name="T24" fmla="*/ 231 w 2134"/>
                <a:gd name="T25" fmla="*/ 415 h 855"/>
                <a:gd name="T26" fmla="*/ 282 w 2134"/>
                <a:gd name="T27" fmla="*/ 415 h 855"/>
                <a:gd name="T28" fmla="*/ 333 w 2134"/>
                <a:gd name="T29" fmla="*/ 415 h 855"/>
                <a:gd name="T30" fmla="*/ 385 w 2134"/>
                <a:gd name="T31" fmla="*/ 415 h 855"/>
                <a:gd name="T32" fmla="*/ 436 w 2134"/>
                <a:gd name="T33" fmla="*/ 415 h 855"/>
                <a:gd name="T34" fmla="*/ 486 w 2134"/>
                <a:gd name="T35" fmla="*/ 415 h 855"/>
                <a:gd name="T36" fmla="*/ 539 w 2134"/>
                <a:gd name="T37" fmla="*/ 415 h 855"/>
                <a:gd name="T38" fmla="*/ 589 w 2134"/>
                <a:gd name="T39" fmla="*/ 415 h 855"/>
                <a:gd name="T40" fmla="*/ 641 w 2134"/>
                <a:gd name="T41" fmla="*/ 415 h 855"/>
                <a:gd name="T42" fmla="*/ 692 w 2134"/>
                <a:gd name="T43" fmla="*/ 415 h 855"/>
                <a:gd name="T44" fmla="*/ 743 w 2134"/>
                <a:gd name="T45" fmla="*/ 415 h 855"/>
                <a:gd name="T46" fmla="*/ 795 w 2134"/>
                <a:gd name="T47" fmla="*/ 415 h 855"/>
                <a:gd name="T48" fmla="*/ 846 w 2134"/>
                <a:gd name="T49" fmla="*/ 415 h 855"/>
                <a:gd name="T50" fmla="*/ 897 w 2134"/>
                <a:gd name="T51" fmla="*/ 415 h 855"/>
                <a:gd name="T52" fmla="*/ 948 w 2134"/>
                <a:gd name="T53" fmla="*/ 415 h 855"/>
                <a:gd name="T54" fmla="*/ 1000 w 2134"/>
                <a:gd name="T55" fmla="*/ 415 h 855"/>
                <a:gd name="T56" fmla="*/ 1016 w 2134"/>
                <a:gd name="T57" fmla="*/ 388 h 855"/>
                <a:gd name="T58" fmla="*/ 1016 w 2134"/>
                <a:gd name="T59" fmla="*/ 336 h 855"/>
                <a:gd name="T60" fmla="*/ 1016 w 2134"/>
                <a:gd name="T61" fmla="*/ 282 h 855"/>
                <a:gd name="T62" fmla="*/ 1016 w 2134"/>
                <a:gd name="T63" fmla="*/ 229 h 855"/>
                <a:gd name="T64" fmla="*/ 1016 w 2134"/>
                <a:gd name="T65" fmla="*/ 177 h 855"/>
                <a:gd name="T66" fmla="*/ 1016 w 2134"/>
                <a:gd name="T67" fmla="*/ 124 h 855"/>
                <a:gd name="T68" fmla="*/ 1016 w 2134"/>
                <a:gd name="T69" fmla="*/ 71 h 855"/>
                <a:gd name="T70" fmla="*/ 1016 w 2134"/>
                <a:gd name="T71" fmla="*/ 17 h 855"/>
                <a:gd name="T72" fmla="*/ 981 w 2134"/>
                <a:gd name="T73" fmla="*/ 11 h 855"/>
                <a:gd name="T74" fmla="*/ 929 w 2134"/>
                <a:gd name="T75" fmla="*/ 11 h 855"/>
                <a:gd name="T76" fmla="*/ 878 w 2134"/>
                <a:gd name="T77" fmla="*/ 11 h 855"/>
                <a:gd name="T78" fmla="*/ 827 w 2134"/>
                <a:gd name="T79" fmla="*/ 11 h 855"/>
                <a:gd name="T80" fmla="*/ 775 w 2134"/>
                <a:gd name="T81" fmla="*/ 11 h 855"/>
                <a:gd name="T82" fmla="*/ 724 w 2134"/>
                <a:gd name="T83" fmla="*/ 11 h 855"/>
                <a:gd name="T84" fmla="*/ 673 w 2134"/>
                <a:gd name="T85" fmla="*/ 11 h 855"/>
                <a:gd name="T86" fmla="*/ 621 w 2134"/>
                <a:gd name="T87" fmla="*/ 11 h 855"/>
                <a:gd name="T88" fmla="*/ 570 w 2134"/>
                <a:gd name="T89" fmla="*/ 11 h 855"/>
                <a:gd name="T90" fmla="*/ 519 w 2134"/>
                <a:gd name="T91" fmla="*/ 11 h 855"/>
                <a:gd name="T92" fmla="*/ 467 w 2134"/>
                <a:gd name="T93" fmla="*/ 11 h 855"/>
                <a:gd name="T94" fmla="*/ 416 w 2134"/>
                <a:gd name="T95" fmla="*/ 11 h 855"/>
                <a:gd name="T96" fmla="*/ 365 w 2134"/>
                <a:gd name="T97" fmla="*/ 11 h 855"/>
                <a:gd name="T98" fmla="*/ 313 w 2134"/>
                <a:gd name="T99" fmla="*/ 11 h 855"/>
                <a:gd name="T100" fmla="*/ 262 w 2134"/>
                <a:gd name="T101" fmla="*/ 11 h 855"/>
                <a:gd name="T102" fmla="*/ 211 w 2134"/>
                <a:gd name="T103" fmla="*/ 11 h 855"/>
                <a:gd name="T104" fmla="*/ 159 w 2134"/>
                <a:gd name="T105" fmla="*/ 11 h 855"/>
                <a:gd name="T106" fmla="*/ 110 w 2134"/>
                <a:gd name="T107" fmla="*/ 11 h 855"/>
                <a:gd name="T108" fmla="*/ 56 w 2134"/>
                <a:gd name="T109" fmla="*/ 11 h 855"/>
                <a:gd name="T110" fmla="*/ 5 w 2134"/>
                <a:gd name="T111" fmla="*/ 11 h 8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34" h="855">
                  <a:moveTo>
                    <a:pt x="22" y="32"/>
                  </a:moveTo>
                  <a:lnTo>
                    <a:pt x="22" y="32"/>
                  </a:lnTo>
                  <a:cubicBezTo>
                    <a:pt x="22" y="38"/>
                    <a:pt x="17" y="43"/>
                    <a:pt x="11" y="43"/>
                  </a:cubicBezTo>
                  <a:cubicBezTo>
                    <a:pt x="5" y="43"/>
                    <a:pt x="0" y="38"/>
                    <a:pt x="0" y="32"/>
                  </a:cubicBezTo>
                  <a:cubicBezTo>
                    <a:pt x="0" y="27"/>
                    <a:pt x="5" y="22"/>
                    <a:pt x="11" y="22"/>
                  </a:cubicBezTo>
                  <a:cubicBezTo>
                    <a:pt x="17" y="22"/>
                    <a:pt x="22" y="27"/>
                    <a:pt x="22" y="32"/>
                  </a:cubicBezTo>
                  <a:close/>
                  <a:moveTo>
                    <a:pt x="22" y="139"/>
                  </a:moveTo>
                  <a:lnTo>
                    <a:pt x="22" y="139"/>
                  </a:lnTo>
                  <a:cubicBezTo>
                    <a:pt x="22" y="145"/>
                    <a:pt x="17" y="150"/>
                    <a:pt x="11" y="150"/>
                  </a:cubicBezTo>
                  <a:cubicBezTo>
                    <a:pt x="5" y="150"/>
                    <a:pt x="0" y="145"/>
                    <a:pt x="0" y="139"/>
                  </a:cubicBezTo>
                  <a:cubicBezTo>
                    <a:pt x="0" y="133"/>
                    <a:pt x="5" y="128"/>
                    <a:pt x="11" y="128"/>
                  </a:cubicBezTo>
                  <a:cubicBezTo>
                    <a:pt x="17" y="128"/>
                    <a:pt x="22" y="133"/>
                    <a:pt x="22" y="139"/>
                  </a:cubicBezTo>
                  <a:close/>
                  <a:moveTo>
                    <a:pt x="22" y="246"/>
                  </a:moveTo>
                  <a:lnTo>
                    <a:pt x="22" y="246"/>
                  </a:lnTo>
                  <a:cubicBezTo>
                    <a:pt x="22" y="252"/>
                    <a:pt x="17" y="257"/>
                    <a:pt x="11" y="257"/>
                  </a:cubicBezTo>
                  <a:cubicBezTo>
                    <a:pt x="5" y="257"/>
                    <a:pt x="0" y="252"/>
                    <a:pt x="0" y="246"/>
                  </a:cubicBezTo>
                  <a:cubicBezTo>
                    <a:pt x="0" y="240"/>
                    <a:pt x="5" y="235"/>
                    <a:pt x="11" y="235"/>
                  </a:cubicBezTo>
                  <a:cubicBezTo>
                    <a:pt x="17" y="235"/>
                    <a:pt x="22" y="240"/>
                    <a:pt x="22" y="246"/>
                  </a:cubicBezTo>
                  <a:close/>
                  <a:moveTo>
                    <a:pt x="22" y="353"/>
                  </a:moveTo>
                  <a:lnTo>
                    <a:pt x="22" y="353"/>
                  </a:lnTo>
                  <a:cubicBezTo>
                    <a:pt x="22" y="358"/>
                    <a:pt x="17" y="363"/>
                    <a:pt x="11" y="363"/>
                  </a:cubicBezTo>
                  <a:cubicBezTo>
                    <a:pt x="5" y="363"/>
                    <a:pt x="0" y="358"/>
                    <a:pt x="0" y="353"/>
                  </a:cubicBezTo>
                  <a:cubicBezTo>
                    <a:pt x="0" y="347"/>
                    <a:pt x="5" y="342"/>
                    <a:pt x="11" y="342"/>
                  </a:cubicBezTo>
                  <a:cubicBezTo>
                    <a:pt x="17" y="342"/>
                    <a:pt x="22" y="347"/>
                    <a:pt x="22" y="353"/>
                  </a:cubicBezTo>
                  <a:close/>
                  <a:moveTo>
                    <a:pt x="22" y="459"/>
                  </a:moveTo>
                  <a:lnTo>
                    <a:pt x="22" y="459"/>
                  </a:lnTo>
                  <a:cubicBezTo>
                    <a:pt x="22" y="465"/>
                    <a:pt x="17" y="470"/>
                    <a:pt x="11" y="470"/>
                  </a:cubicBezTo>
                  <a:cubicBezTo>
                    <a:pt x="5" y="470"/>
                    <a:pt x="0" y="465"/>
                    <a:pt x="0" y="459"/>
                  </a:cubicBezTo>
                  <a:cubicBezTo>
                    <a:pt x="0" y="453"/>
                    <a:pt x="5" y="449"/>
                    <a:pt x="11" y="449"/>
                  </a:cubicBezTo>
                  <a:cubicBezTo>
                    <a:pt x="17" y="449"/>
                    <a:pt x="22" y="453"/>
                    <a:pt x="22" y="459"/>
                  </a:cubicBezTo>
                  <a:close/>
                  <a:moveTo>
                    <a:pt x="22" y="566"/>
                  </a:moveTo>
                  <a:lnTo>
                    <a:pt x="22" y="566"/>
                  </a:lnTo>
                  <a:cubicBezTo>
                    <a:pt x="22" y="572"/>
                    <a:pt x="17" y="577"/>
                    <a:pt x="11" y="577"/>
                  </a:cubicBezTo>
                  <a:cubicBezTo>
                    <a:pt x="5" y="577"/>
                    <a:pt x="0" y="572"/>
                    <a:pt x="0" y="566"/>
                  </a:cubicBezTo>
                  <a:cubicBezTo>
                    <a:pt x="0" y="560"/>
                    <a:pt x="5" y="555"/>
                    <a:pt x="11" y="555"/>
                  </a:cubicBezTo>
                  <a:cubicBezTo>
                    <a:pt x="17" y="555"/>
                    <a:pt x="22" y="560"/>
                    <a:pt x="22" y="566"/>
                  </a:cubicBezTo>
                  <a:close/>
                  <a:moveTo>
                    <a:pt x="22" y="673"/>
                  </a:moveTo>
                  <a:lnTo>
                    <a:pt x="22" y="673"/>
                  </a:lnTo>
                  <a:cubicBezTo>
                    <a:pt x="22" y="679"/>
                    <a:pt x="17" y="683"/>
                    <a:pt x="11" y="683"/>
                  </a:cubicBezTo>
                  <a:cubicBezTo>
                    <a:pt x="5" y="683"/>
                    <a:pt x="0" y="679"/>
                    <a:pt x="0" y="673"/>
                  </a:cubicBezTo>
                  <a:cubicBezTo>
                    <a:pt x="0" y="667"/>
                    <a:pt x="5" y="662"/>
                    <a:pt x="11" y="662"/>
                  </a:cubicBezTo>
                  <a:cubicBezTo>
                    <a:pt x="17" y="662"/>
                    <a:pt x="22" y="667"/>
                    <a:pt x="22" y="673"/>
                  </a:cubicBezTo>
                  <a:close/>
                  <a:moveTo>
                    <a:pt x="22" y="779"/>
                  </a:moveTo>
                  <a:lnTo>
                    <a:pt x="22" y="779"/>
                  </a:lnTo>
                  <a:cubicBezTo>
                    <a:pt x="22" y="785"/>
                    <a:pt x="17" y="790"/>
                    <a:pt x="11" y="790"/>
                  </a:cubicBezTo>
                  <a:cubicBezTo>
                    <a:pt x="5" y="790"/>
                    <a:pt x="0" y="785"/>
                    <a:pt x="0" y="779"/>
                  </a:cubicBezTo>
                  <a:cubicBezTo>
                    <a:pt x="0" y="773"/>
                    <a:pt x="5" y="769"/>
                    <a:pt x="11" y="769"/>
                  </a:cubicBezTo>
                  <a:cubicBezTo>
                    <a:pt x="17" y="769"/>
                    <a:pt x="22" y="773"/>
                    <a:pt x="22" y="779"/>
                  </a:cubicBezTo>
                  <a:close/>
                  <a:moveTo>
                    <a:pt x="53" y="834"/>
                  </a:moveTo>
                  <a:lnTo>
                    <a:pt x="53" y="834"/>
                  </a:lnTo>
                  <a:cubicBezTo>
                    <a:pt x="59" y="834"/>
                    <a:pt x="63" y="838"/>
                    <a:pt x="63" y="844"/>
                  </a:cubicBezTo>
                  <a:cubicBezTo>
                    <a:pt x="63" y="850"/>
                    <a:pt x="59" y="855"/>
                    <a:pt x="53" y="855"/>
                  </a:cubicBezTo>
                  <a:cubicBezTo>
                    <a:pt x="47" y="855"/>
                    <a:pt x="42" y="850"/>
                    <a:pt x="42" y="844"/>
                  </a:cubicBezTo>
                  <a:cubicBezTo>
                    <a:pt x="42" y="838"/>
                    <a:pt x="47" y="834"/>
                    <a:pt x="53" y="834"/>
                  </a:cubicBezTo>
                  <a:close/>
                  <a:moveTo>
                    <a:pt x="159" y="834"/>
                  </a:moveTo>
                  <a:lnTo>
                    <a:pt x="160" y="834"/>
                  </a:lnTo>
                  <a:cubicBezTo>
                    <a:pt x="165" y="834"/>
                    <a:pt x="170" y="838"/>
                    <a:pt x="170" y="844"/>
                  </a:cubicBezTo>
                  <a:cubicBezTo>
                    <a:pt x="170" y="850"/>
                    <a:pt x="165" y="855"/>
                    <a:pt x="160" y="855"/>
                  </a:cubicBezTo>
                  <a:lnTo>
                    <a:pt x="159" y="855"/>
                  </a:lnTo>
                  <a:cubicBezTo>
                    <a:pt x="154" y="855"/>
                    <a:pt x="149" y="850"/>
                    <a:pt x="149" y="844"/>
                  </a:cubicBezTo>
                  <a:cubicBezTo>
                    <a:pt x="149" y="838"/>
                    <a:pt x="154" y="834"/>
                    <a:pt x="159" y="834"/>
                  </a:cubicBezTo>
                  <a:close/>
                  <a:moveTo>
                    <a:pt x="266" y="834"/>
                  </a:moveTo>
                  <a:lnTo>
                    <a:pt x="266" y="834"/>
                  </a:lnTo>
                  <a:cubicBezTo>
                    <a:pt x="272" y="834"/>
                    <a:pt x="277" y="838"/>
                    <a:pt x="277" y="844"/>
                  </a:cubicBezTo>
                  <a:cubicBezTo>
                    <a:pt x="277" y="850"/>
                    <a:pt x="272" y="855"/>
                    <a:pt x="266" y="855"/>
                  </a:cubicBezTo>
                  <a:cubicBezTo>
                    <a:pt x="260" y="855"/>
                    <a:pt x="256" y="850"/>
                    <a:pt x="256" y="844"/>
                  </a:cubicBezTo>
                  <a:cubicBezTo>
                    <a:pt x="256" y="838"/>
                    <a:pt x="260" y="834"/>
                    <a:pt x="266" y="834"/>
                  </a:cubicBezTo>
                  <a:close/>
                  <a:moveTo>
                    <a:pt x="373" y="834"/>
                  </a:moveTo>
                  <a:lnTo>
                    <a:pt x="373" y="834"/>
                  </a:lnTo>
                  <a:cubicBezTo>
                    <a:pt x="379" y="834"/>
                    <a:pt x="384" y="838"/>
                    <a:pt x="384" y="844"/>
                  </a:cubicBezTo>
                  <a:cubicBezTo>
                    <a:pt x="384" y="850"/>
                    <a:pt x="379" y="855"/>
                    <a:pt x="373" y="855"/>
                  </a:cubicBezTo>
                  <a:cubicBezTo>
                    <a:pt x="367" y="855"/>
                    <a:pt x="362" y="850"/>
                    <a:pt x="362" y="844"/>
                  </a:cubicBezTo>
                  <a:cubicBezTo>
                    <a:pt x="362" y="838"/>
                    <a:pt x="367" y="834"/>
                    <a:pt x="373" y="834"/>
                  </a:cubicBezTo>
                  <a:close/>
                  <a:moveTo>
                    <a:pt x="480" y="834"/>
                  </a:moveTo>
                  <a:lnTo>
                    <a:pt x="480" y="834"/>
                  </a:lnTo>
                  <a:cubicBezTo>
                    <a:pt x="485" y="834"/>
                    <a:pt x="490" y="838"/>
                    <a:pt x="490" y="844"/>
                  </a:cubicBezTo>
                  <a:cubicBezTo>
                    <a:pt x="490" y="850"/>
                    <a:pt x="485" y="855"/>
                    <a:pt x="480" y="855"/>
                  </a:cubicBezTo>
                  <a:cubicBezTo>
                    <a:pt x="474" y="855"/>
                    <a:pt x="469" y="850"/>
                    <a:pt x="469" y="844"/>
                  </a:cubicBezTo>
                  <a:cubicBezTo>
                    <a:pt x="469" y="838"/>
                    <a:pt x="474" y="834"/>
                    <a:pt x="480" y="834"/>
                  </a:cubicBezTo>
                  <a:close/>
                  <a:moveTo>
                    <a:pt x="586" y="834"/>
                  </a:moveTo>
                  <a:lnTo>
                    <a:pt x="586" y="834"/>
                  </a:lnTo>
                  <a:cubicBezTo>
                    <a:pt x="592" y="834"/>
                    <a:pt x="597" y="838"/>
                    <a:pt x="597" y="844"/>
                  </a:cubicBezTo>
                  <a:cubicBezTo>
                    <a:pt x="597" y="850"/>
                    <a:pt x="592" y="855"/>
                    <a:pt x="586" y="855"/>
                  </a:cubicBezTo>
                  <a:cubicBezTo>
                    <a:pt x="580" y="855"/>
                    <a:pt x="576" y="850"/>
                    <a:pt x="576" y="844"/>
                  </a:cubicBezTo>
                  <a:cubicBezTo>
                    <a:pt x="576" y="838"/>
                    <a:pt x="580" y="834"/>
                    <a:pt x="586" y="834"/>
                  </a:cubicBezTo>
                  <a:close/>
                  <a:moveTo>
                    <a:pt x="693" y="834"/>
                  </a:moveTo>
                  <a:lnTo>
                    <a:pt x="693" y="834"/>
                  </a:lnTo>
                  <a:cubicBezTo>
                    <a:pt x="699" y="834"/>
                    <a:pt x="704" y="838"/>
                    <a:pt x="704" y="844"/>
                  </a:cubicBezTo>
                  <a:cubicBezTo>
                    <a:pt x="704" y="850"/>
                    <a:pt x="699" y="855"/>
                    <a:pt x="693" y="855"/>
                  </a:cubicBezTo>
                  <a:cubicBezTo>
                    <a:pt x="687" y="855"/>
                    <a:pt x="682" y="850"/>
                    <a:pt x="682" y="844"/>
                  </a:cubicBezTo>
                  <a:cubicBezTo>
                    <a:pt x="682" y="838"/>
                    <a:pt x="687" y="834"/>
                    <a:pt x="693" y="834"/>
                  </a:cubicBezTo>
                  <a:close/>
                  <a:moveTo>
                    <a:pt x="800" y="834"/>
                  </a:moveTo>
                  <a:lnTo>
                    <a:pt x="800" y="834"/>
                  </a:lnTo>
                  <a:cubicBezTo>
                    <a:pt x="806" y="834"/>
                    <a:pt x="810" y="838"/>
                    <a:pt x="810" y="844"/>
                  </a:cubicBezTo>
                  <a:cubicBezTo>
                    <a:pt x="810" y="850"/>
                    <a:pt x="806" y="855"/>
                    <a:pt x="800" y="855"/>
                  </a:cubicBezTo>
                  <a:cubicBezTo>
                    <a:pt x="794" y="855"/>
                    <a:pt x="789" y="850"/>
                    <a:pt x="789" y="844"/>
                  </a:cubicBezTo>
                  <a:cubicBezTo>
                    <a:pt x="789" y="838"/>
                    <a:pt x="794" y="834"/>
                    <a:pt x="800" y="834"/>
                  </a:cubicBezTo>
                  <a:close/>
                  <a:moveTo>
                    <a:pt x="906" y="834"/>
                  </a:moveTo>
                  <a:lnTo>
                    <a:pt x="906" y="834"/>
                  </a:lnTo>
                  <a:cubicBezTo>
                    <a:pt x="912" y="834"/>
                    <a:pt x="917" y="838"/>
                    <a:pt x="917" y="844"/>
                  </a:cubicBezTo>
                  <a:cubicBezTo>
                    <a:pt x="917" y="850"/>
                    <a:pt x="912" y="855"/>
                    <a:pt x="906" y="855"/>
                  </a:cubicBezTo>
                  <a:cubicBezTo>
                    <a:pt x="900" y="855"/>
                    <a:pt x="896" y="850"/>
                    <a:pt x="896" y="844"/>
                  </a:cubicBezTo>
                  <a:cubicBezTo>
                    <a:pt x="896" y="838"/>
                    <a:pt x="900" y="834"/>
                    <a:pt x="906" y="834"/>
                  </a:cubicBezTo>
                  <a:close/>
                  <a:moveTo>
                    <a:pt x="1013" y="834"/>
                  </a:moveTo>
                  <a:lnTo>
                    <a:pt x="1013" y="834"/>
                  </a:lnTo>
                  <a:cubicBezTo>
                    <a:pt x="1019" y="834"/>
                    <a:pt x="1024" y="838"/>
                    <a:pt x="1024" y="844"/>
                  </a:cubicBezTo>
                  <a:cubicBezTo>
                    <a:pt x="1024" y="850"/>
                    <a:pt x="1019" y="855"/>
                    <a:pt x="1013" y="855"/>
                  </a:cubicBezTo>
                  <a:cubicBezTo>
                    <a:pt x="1007" y="855"/>
                    <a:pt x="1002" y="850"/>
                    <a:pt x="1002" y="844"/>
                  </a:cubicBezTo>
                  <a:cubicBezTo>
                    <a:pt x="1002" y="838"/>
                    <a:pt x="1007" y="834"/>
                    <a:pt x="1013" y="834"/>
                  </a:cubicBezTo>
                  <a:close/>
                  <a:moveTo>
                    <a:pt x="1120" y="834"/>
                  </a:moveTo>
                  <a:lnTo>
                    <a:pt x="1120" y="834"/>
                  </a:lnTo>
                  <a:cubicBezTo>
                    <a:pt x="1126" y="834"/>
                    <a:pt x="1130" y="838"/>
                    <a:pt x="1130" y="844"/>
                  </a:cubicBezTo>
                  <a:cubicBezTo>
                    <a:pt x="1130" y="850"/>
                    <a:pt x="1126" y="855"/>
                    <a:pt x="1120" y="855"/>
                  </a:cubicBezTo>
                  <a:cubicBezTo>
                    <a:pt x="1114" y="855"/>
                    <a:pt x="1109" y="850"/>
                    <a:pt x="1109" y="844"/>
                  </a:cubicBezTo>
                  <a:cubicBezTo>
                    <a:pt x="1109" y="838"/>
                    <a:pt x="1114" y="834"/>
                    <a:pt x="1120" y="834"/>
                  </a:cubicBezTo>
                  <a:close/>
                  <a:moveTo>
                    <a:pt x="1226" y="834"/>
                  </a:moveTo>
                  <a:lnTo>
                    <a:pt x="1226" y="834"/>
                  </a:lnTo>
                  <a:cubicBezTo>
                    <a:pt x="1232" y="834"/>
                    <a:pt x="1237" y="838"/>
                    <a:pt x="1237" y="844"/>
                  </a:cubicBezTo>
                  <a:cubicBezTo>
                    <a:pt x="1237" y="850"/>
                    <a:pt x="1232" y="855"/>
                    <a:pt x="1226" y="855"/>
                  </a:cubicBezTo>
                  <a:cubicBezTo>
                    <a:pt x="1220" y="855"/>
                    <a:pt x="1216" y="850"/>
                    <a:pt x="1216" y="844"/>
                  </a:cubicBezTo>
                  <a:cubicBezTo>
                    <a:pt x="1216" y="838"/>
                    <a:pt x="1220" y="834"/>
                    <a:pt x="1226" y="834"/>
                  </a:cubicBezTo>
                  <a:close/>
                  <a:moveTo>
                    <a:pt x="1333" y="834"/>
                  </a:moveTo>
                  <a:lnTo>
                    <a:pt x="1333" y="834"/>
                  </a:lnTo>
                  <a:cubicBezTo>
                    <a:pt x="1339" y="834"/>
                    <a:pt x="1344" y="838"/>
                    <a:pt x="1344" y="844"/>
                  </a:cubicBezTo>
                  <a:cubicBezTo>
                    <a:pt x="1344" y="850"/>
                    <a:pt x="1339" y="855"/>
                    <a:pt x="1333" y="855"/>
                  </a:cubicBezTo>
                  <a:cubicBezTo>
                    <a:pt x="1327" y="855"/>
                    <a:pt x="1322" y="850"/>
                    <a:pt x="1322" y="844"/>
                  </a:cubicBezTo>
                  <a:cubicBezTo>
                    <a:pt x="1322" y="838"/>
                    <a:pt x="1327" y="834"/>
                    <a:pt x="1333" y="834"/>
                  </a:cubicBezTo>
                  <a:close/>
                  <a:moveTo>
                    <a:pt x="1440" y="834"/>
                  </a:moveTo>
                  <a:lnTo>
                    <a:pt x="1440" y="834"/>
                  </a:lnTo>
                  <a:cubicBezTo>
                    <a:pt x="1446" y="834"/>
                    <a:pt x="1450" y="838"/>
                    <a:pt x="1450" y="844"/>
                  </a:cubicBezTo>
                  <a:cubicBezTo>
                    <a:pt x="1450" y="850"/>
                    <a:pt x="1446" y="855"/>
                    <a:pt x="1440" y="855"/>
                  </a:cubicBezTo>
                  <a:cubicBezTo>
                    <a:pt x="1434" y="855"/>
                    <a:pt x="1429" y="850"/>
                    <a:pt x="1429" y="844"/>
                  </a:cubicBezTo>
                  <a:cubicBezTo>
                    <a:pt x="1429" y="838"/>
                    <a:pt x="1434" y="834"/>
                    <a:pt x="1440" y="834"/>
                  </a:cubicBezTo>
                  <a:close/>
                  <a:moveTo>
                    <a:pt x="1546" y="834"/>
                  </a:moveTo>
                  <a:lnTo>
                    <a:pt x="1546" y="834"/>
                  </a:lnTo>
                  <a:cubicBezTo>
                    <a:pt x="1552" y="834"/>
                    <a:pt x="1557" y="838"/>
                    <a:pt x="1557" y="844"/>
                  </a:cubicBezTo>
                  <a:cubicBezTo>
                    <a:pt x="1557" y="850"/>
                    <a:pt x="1552" y="855"/>
                    <a:pt x="1546" y="855"/>
                  </a:cubicBezTo>
                  <a:cubicBezTo>
                    <a:pt x="1541" y="855"/>
                    <a:pt x="1536" y="850"/>
                    <a:pt x="1536" y="844"/>
                  </a:cubicBezTo>
                  <a:cubicBezTo>
                    <a:pt x="1536" y="838"/>
                    <a:pt x="1541" y="834"/>
                    <a:pt x="1546" y="834"/>
                  </a:cubicBezTo>
                  <a:close/>
                  <a:moveTo>
                    <a:pt x="1653" y="834"/>
                  </a:moveTo>
                  <a:lnTo>
                    <a:pt x="1653" y="834"/>
                  </a:lnTo>
                  <a:cubicBezTo>
                    <a:pt x="1659" y="834"/>
                    <a:pt x="1664" y="838"/>
                    <a:pt x="1664" y="844"/>
                  </a:cubicBezTo>
                  <a:cubicBezTo>
                    <a:pt x="1664" y="850"/>
                    <a:pt x="1659" y="855"/>
                    <a:pt x="1653" y="855"/>
                  </a:cubicBezTo>
                  <a:cubicBezTo>
                    <a:pt x="1647" y="855"/>
                    <a:pt x="1642" y="850"/>
                    <a:pt x="1642" y="844"/>
                  </a:cubicBezTo>
                  <a:cubicBezTo>
                    <a:pt x="1642" y="838"/>
                    <a:pt x="1647" y="834"/>
                    <a:pt x="1653" y="834"/>
                  </a:cubicBezTo>
                  <a:close/>
                  <a:moveTo>
                    <a:pt x="1760" y="834"/>
                  </a:moveTo>
                  <a:lnTo>
                    <a:pt x="1760" y="834"/>
                  </a:lnTo>
                  <a:cubicBezTo>
                    <a:pt x="1766" y="834"/>
                    <a:pt x="1771" y="838"/>
                    <a:pt x="1771" y="844"/>
                  </a:cubicBezTo>
                  <a:cubicBezTo>
                    <a:pt x="1771" y="850"/>
                    <a:pt x="1766" y="855"/>
                    <a:pt x="1760" y="855"/>
                  </a:cubicBezTo>
                  <a:cubicBezTo>
                    <a:pt x="1754" y="855"/>
                    <a:pt x="1749" y="850"/>
                    <a:pt x="1749" y="844"/>
                  </a:cubicBezTo>
                  <a:cubicBezTo>
                    <a:pt x="1749" y="838"/>
                    <a:pt x="1754" y="834"/>
                    <a:pt x="1760" y="834"/>
                  </a:cubicBezTo>
                  <a:close/>
                  <a:moveTo>
                    <a:pt x="1867" y="834"/>
                  </a:moveTo>
                  <a:lnTo>
                    <a:pt x="1867" y="834"/>
                  </a:lnTo>
                  <a:cubicBezTo>
                    <a:pt x="1872" y="834"/>
                    <a:pt x="1877" y="838"/>
                    <a:pt x="1877" y="844"/>
                  </a:cubicBezTo>
                  <a:cubicBezTo>
                    <a:pt x="1877" y="850"/>
                    <a:pt x="1872" y="855"/>
                    <a:pt x="1867" y="855"/>
                  </a:cubicBezTo>
                  <a:cubicBezTo>
                    <a:pt x="1861" y="855"/>
                    <a:pt x="1856" y="850"/>
                    <a:pt x="1856" y="844"/>
                  </a:cubicBezTo>
                  <a:cubicBezTo>
                    <a:pt x="1856" y="838"/>
                    <a:pt x="1861" y="834"/>
                    <a:pt x="1867" y="834"/>
                  </a:cubicBezTo>
                  <a:close/>
                  <a:moveTo>
                    <a:pt x="1973" y="834"/>
                  </a:moveTo>
                  <a:lnTo>
                    <a:pt x="1973" y="834"/>
                  </a:lnTo>
                  <a:cubicBezTo>
                    <a:pt x="1979" y="834"/>
                    <a:pt x="1984" y="838"/>
                    <a:pt x="1984" y="844"/>
                  </a:cubicBezTo>
                  <a:cubicBezTo>
                    <a:pt x="1984" y="850"/>
                    <a:pt x="1979" y="855"/>
                    <a:pt x="1973" y="855"/>
                  </a:cubicBezTo>
                  <a:cubicBezTo>
                    <a:pt x="1967" y="855"/>
                    <a:pt x="1963" y="850"/>
                    <a:pt x="1963" y="844"/>
                  </a:cubicBezTo>
                  <a:cubicBezTo>
                    <a:pt x="1963" y="838"/>
                    <a:pt x="1967" y="834"/>
                    <a:pt x="1973" y="834"/>
                  </a:cubicBezTo>
                  <a:close/>
                  <a:moveTo>
                    <a:pt x="2080" y="834"/>
                  </a:moveTo>
                  <a:lnTo>
                    <a:pt x="2080" y="834"/>
                  </a:lnTo>
                  <a:cubicBezTo>
                    <a:pt x="2086" y="834"/>
                    <a:pt x="2091" y="838"/>
                    <a:pt x="2091" y="844"/>
                  </a:cubicBezTo>
                  <a:cubicBezTo>
                    <a:pt x="2091" y="850"/>
                    <a:pt x="2086" y="855"/>
                    <a:pt x="2080" y="855"/>
                  </a:cubicBezTo>
                  <a:cubicBezTo>
                    <a:pt x="2074" y="855"/>
                    <a:pt x="2069" y="850"/>
                    <a:pt x="2069" y="844"/>
                  </a:cubicBezTo>
                  <a:cubicBezTo>
                    <a:pt x="2069" y="838"/>
                    <a:pt x="2074" y="834"/>
                    <a:pt x="2080" y="834"/>
                  </a:cubicBezTo>
                  <a:close/>
                  <a:moveTo>
                    <a:pt x="2112" y="781"/>
                  </a:moveTo>
                  <a:lnTo>
                    <a:pt x="2112" y="781"/>
                  </a:lnTo>
                  <a:cubicBezTo>
                    <a:pt x="2112" y="775"/>
                    <a:pt x="2117" y="770"/>
                    <a:pt x="2123" y="770"/>
                  </a:cubicBezTo>
                  <a:cubicBezTo>
                    <a:pt x="2129" y="770"/>
                    <a:pt x="2134" y="775"/>
                    <a:pt x="2134" y="781"/>
                  </a:cubicBezTo>
                  <a:cubicBezTo>
                    <a:pt x="2134" y="787"/>
                    <a:pt x="2129" y="792"/>
                    <a:pt x="2123" y="792"/>
                  </a:cubicBezTo>
                  <a:cubicBezTo>
                    <a:pt x="2117" y="792"/>
                    <a:pt x="2112" y="787"/>
                    <a:pt x="2112" y="781"/>
                  </a:cubicBezTo>
                  <a:close/>
                  <a:moveTo>
                    <a:pt x="2112" y="674"/>
                  </a:moveTo>
                  <a:lnTo>
                    <a:pt x="2112" y="674"/>
                  </a:lnTo>
                  <a:cubicBezTo>
                    <a:pt x="2112" y="668"/>
                    <a:pt x="2117" y="663"/>
                    <a:pt x="2123" y="663"/>
                  </a:cubicBezTo>
                  <a:cubicBezTo>
                    <a:pt x="2129" y="663"/>
                    <a:pt x="2134" y="668"/>
                    <a:pt x="2134" y="674"/>
                  </a:cubicBezTo>
                  <a:cubicBezTo>
                    <a:pt x="2134" y="680"/>
                    <a:pt x="2129" y="685"/>
                    <a:pt x="2123" y="685"/>
                  </a:cubicBezTo>
                  <a:cubicBezTo>
                    <a:pt x="2117" y="685"/>
                    <a:pt x="2112" y="680"/>
                    <a:pt x="2112" y="674"/>
                  </a:cubicBezTo>
                  <a:close/>
                  <a:moveTo>
                    <a:pt x="2112" y="567"/>
                  </a:moveTo>
                  <a:lnTo>
                    <a:pt x="2112" y="567"/>
                  </a:lnTo>
                  <a:cubicBezTo>
                    <a:pt x="2112" y="562"/>
                    <a:pt x="2117" y="557"/>
                    <a:pt x="2123" y="557"/>
                  </a:cubicBezTo>
                  <a:cubicBezTo>
                    <a:pt x="2129" y="557"/>
                    <a:pt x="2134" y="562"/>
                    <a:pt x="2134" y="567"/>
                  </a:cubicBezTo>
                  <a:cubicBezTo>
                    <a:pt x="2134" y="573"/>
                    <a:pt x="2129" y="578"/>
                    <a:pt x="2123" y="578"/>
                  </a:cubicBezTo>
                  <a:cubicBezTo>
                    <a:pt x="2117" y="578"/>
                    <a:pt x="2112" y="573"/>
                    <a:pt x="2112" y="567"/>
                  </a:cubicBezTo>
                  <a:close/>
                  <a:moveTo>
                    <a:pt x="2112" y="461"/>
                  </a:moveTo>
                  <a:lnTo>
                    <a:pt x="2112" y="461"/>
                  </a:lnTo>
                  <a:cubicBezTo>
                    <a:pt x="2112" y="455"/>
                    <a:pt x="2117" y="450"/>
                    <a:pt x="2123" y="450"/>
                  </a:cubicBezTo>
                  <a:cubicBezTo>
                    <a:pt x="2129" y="450"/>
                    <a:pt x="2134" y="455"/>
                    <a:pt x="2134" y="461"/>
                  </a:cubicBezTo>
                  <a:cubicBezTo>
                    <a:pt x="2134" y="467"/>
                    <a:pt x="2129" y="471"/>
                    <a:pt x="2123" y="471"/>
                  </a:cubicBezTo>
                  <a:cubicBezTo>
                    <a:pt x="2117" y="471"/>
                    <a:pt x="2112" y="467"/>
                    <a:pt x="2112" y="461"/>
                  </a:cubicBezTo>
                  <a:close/>
                  <a:moveTo>
                    <a:pt x="2112" y="354"/>
                  </a:moveTo>
                  <a:lnTo>
                    <a:pt x="2112" y="354"/>
                  </a:lnTo>
                  <a:cubicBezTo>
                    <a:pt x="2112" y="348"/>
                    <a:pt x="2117" y="343"/>
                    <a:pt x="2123" y="343"/>
                  </a:cubicBezTo>
                  <a:cubicBezTo>
                    <a:pt x="2129" y="343"/>
                    <a:pt x="2134" y="348"/>
                    <a:pt x="2134" y="354"/>
                  </a:cubicBezTo>
                  <a:cubicBezTo>
                    <a:pt x="2134" y="360"/>
                    <a:pt x="2129" y="365"/>
                    <a:pt x="2123" y="365"/>
                  </a:cubicBezTo>
                  <a:cubicBezTo>
                    <a:pt x="2117" y="365"/>
                    <a:pt x="2112" y="360"/>
                    <a:pt x="2112" y="354"/>
                  </a:cubicBezTo>
                  <a:close/>
                  <a:moveTo>
                    <a:pt x="2112" y="247"/>
                  </a:moveTo>
                  <a:lnTo>
                    <a:pt x="2112" y="247"/>
                  </a:lnTo>
                  <a:cubicBezTo>
                    <a:pt x="2112" y="242"/>
                    <a:pt x="2117" y="237"/>
                    <a:pt x="2123" y="237"/>
                  </a:cubicBezTo>
                  <a:cubicBezTo>
                    <a:pt x="2129" y="237"/>
                    <a:pt x="2134" y="242"/>
                    <a:pt x="2134" y="247"/>
                  </a:cubicBezTo>
                  <a:cubicBezTo>
                    <a:pt x="2134" y="253"/>
                    <a:pt x="2129" y="258"/>
                    <a:pt x="2123" y="258"/>
                  </a:cubicBezTo>
                  <a:cubicBezTo>
                    <a:pt x="2117" y="258"/>
                    <a:pt x="2112" y="253"/>
                    <a:pt x="2112" y="247"/>
                  </a:cubicBezTo>
                  <a:close/>
                  <a:moveTo>
                    <a:pt x="2112" y="141"/>
                  </a:moveTo>
                  <a:lnTo>
                    <a:pt x="2112" y="141"/>
                  </a:lnTo>
                  <a:cubicBezTo>
                    <a:pt x="2112" y="135"/>
                    <a:pt x="2117" y="130"/>
                    <a:pt x="2123" y="130"/>
                  </a:cubicBezTo>
                  <a:cubicBezTo>
                    <a:pt x="2129" y="130"/>
                    <a:pt x="2134" y="135"/>
                    <a:pt x="2134" y="141"/>
                  </a:cubicBezTo>
                  <a:cubicBezTo>
                    <a:pt x="2134" y="147"/>
                    <a:pt x="2129" y="151"/>
                    <a:pt x="2123" y="151"/>
                  </a:cubicBezTo>
                  <a:cubicBezTo>
                    <a:pt x="2117" y="151"/>
                    <a:pt x="2112" y="147"/>
                    <a:pt x="2112" y="141"/>
                  </a:cubicBezTo>
                  <a:close/>
                  <a:moveTo>
                    <a:pt x="2112" y="34"/>
                  </a:moveTo>
                  <a:lnTo>
                    <a:pt x="2112" y="34"/>
                  </a:lnTo>
                  <a:cubicBezTo>
                    <a:pt x="2112" y="28"/>
                    <a:pt x="2117" y="23"/>
                    <a:pt x="2123" y="23"/>
                  </a:cubicBezTo>
                  <a:cubicBezTo>
                    <a:pt x="2129" y="23"/>
                    <a:pt x="2134" y="28"/>
                    <a:pt x="2134" y="34"/>
                  </a:cubicBezTo>
                  <a:cubicBezTo>
                    <a:pt x="2134" y="40"/>
                    <a:pt x="2129" y="45"/>
                    <a:pt x="2123" y="45"/>
                  </a:cubicBezTo>
                  <a:cubicBezTo>
                    <a:pt x="2117" y="45"/>
                    <a:pt x="2112" y="40"/>
                    <a:pt x="2112" y="34"/>
                  </a:cubicBezTo>
                  <a:close/>
                  <a:moveTo>
                    <a:pt x="2039" y="22"/>
                  </a:moveTo>
                  <a:lnTo>
                    <a:pt x="2039" y="22"/>
                  </a:lnTo>
                  <a:cubicBezTo>
                    <a:pt x="2033" y="22"/>
                    <a:pt x="2029" y="17"/>
                    <a:pt x="2029" y="11"/>
                  </a:cubicBezTo>
                  <a:cubicBezTo>
                    <a:pt x="2029" y="5"/>
                    <a:pt x="2033" y="0"/>
                    <a:pt x="2039" y="0"/>
                  </a:cubicBezTo>
                  <a:cubicBezTo>
                    <a:pt x="2045" y="0"/>
                    <a:pt x="2050" y="5"/>
                    <a:pt x="2050" y="11"/>
                  </a:cubicBezTo>
                  <a:cubicBezTo>
                    <a:pt x="2050" y="17"/>
                    <a:pt x="2045" y="22"/>
                    <a:pt x="2039" y="22"/>
                  </a:cubicBezTo>
                  <a:close/>
                  <a:moveTo>
                    <a:pt x="1933" y="22"/>
                  </a:moveTo>
                  <a:lnTo>
                    <a:pt x="1933" y="22"/>
                  </a:lnTo>
                  <a:cubicBezTo>
                    <a:pt x="1927" y="22"/>
                    <a:pt x="1922" y="17"/>
                    <a:pt x="1922" y="11"/>
                  </a:cubicBezTo>
                  <a:cubicBezTo>
                    <a:pt x="1922" y="5"/>
                    <a:pt x="1927" y="0"/>
                    <a:pt x="1933" y="0"/>
                  </a:cubicBezTo>
                  <a:cubicBezTo>
                    <a:pt x="1939" y="0"/>
                    <a:pt x="1943" y="5"/>
                    <a:pt x="1943" y="11"/>
                  </a:cubicBezTo>
                  <a:cubicBezTo>
                    <a:pt x="1943" y="17"/>
                    <a:pt x="1939" y="22"/>
                    <a:pt x="1933" y="22"/>
                  </a:cubicBezTo>
                  <a:close/>
                  <a:moveTo>
                    <a:pt x="1826" y="22"/>
                  </a:moveTo>
                  <a:lnTo>
                    <a:pt x="1826" y="22"/>
                  </a:lnTo>
                  <a:cubicBezTo>
                    <a:pt x="1820" y="22"/>
                    <a:pt x="1815" y="17"/>
                    <a:pt x="1815" y="11"/>
                  </a:cubicBezTo>
                  <a:cubicBezTo>
                    <a:pt x="1815" y="5"/>
                    <a:pt x="1820" y="0"/>
                    <a:pt x="1826" y="0"/>
                  </a:cubicBezTo>
                  <a:cubicBezTo>
                    <a:pt x="1832" y="0"/>
                    <a:pt x="1837" y="5"/>
                    <a:pt x="1837" y="11"/>
                  </a:cubicBezTo>
                  <a:cubicBezTo>
                    <a:pt x="1837" y="17"/>
                    <a:pt x="1832" y="22"/>
                    <a:pt x="1826" y="22"/>
                  </a:cubicBezTo>
                  <a:close/>
                  <a:moveTo>
                    <a:pt x="1719" y="22"/>
                  </a:moveTo>
                  <a:lnTo>
                    <a:pt x="1719" y="22"/>
                  </a:lnTo>
                  <a:cubicBezTo>
                    <a:pt x="1713" y="22"/>
                    <a:pt x="1709" y="17"/>
                    <a:pt x="1709" y="11"/>
                  </a:cubicBezTo>
                  <a:cubicBezTo>
                    <a:pt x="1709" y="5"/>
                    <a:pt x="1713" y="0"/>
                    <a:pt x="1719" y="0"/>
                  </a:cubicBezTo>
                  <a:cubicBezTo>
                    <a:pt x="1725" y="0"/>
                    <a:pt x="1730" y="5"/>
                    <a:pt x="1730" y="11"/>
                  </a:cubicBezTo>
                  <a:cubicBezTo>
                    <a:pt x="1730" y="17"/>
                    <a:pt x="1725" y="22"/>
                    <a:pt x="1719" y="22"/>
                  </a:cubicBezTo>
                  <a:close/>
                  <a:moveTo>
                    <a:pt x="1613" y="22"/>
                  </a:moveTo>
                  <a:lnTo>
                    <a:pt x="1613" y="22"/>
                  </a:lnTo>
                  <a:cubicBezTo>
                    <a:pt x="1607" y="22"/>
                    <a:pt x="1602" y="17"/>
                    <a:pt x="1602" y="11"/>
                  </a:cubicBezTo>
                  <a:cubicBezTo>
                    <a:pt x="1602" y="5"/>
                    <a:pt x="1607" y="0"/>
                    <a:pt x="1613" y="0"/>
                  </a:cubicBezTo>
                  <a:cubicBezTo>
                    <a:pt x="1619" y="0"/>
                    <a:pt x="1623" y="5"/>
                    <a:pt x="1623" y="11"/>
                  </a:cubicBezTo>
                  <a:cubicBezTo>
                    <a:pt x="1623" y="17"/>
                    <a:pt x="1619" y="22"/>
                    <a:pt x="1613" y="22"/>
                  </a:cubicBezTo>
                  <a:close/>
                  <a:moveTo>
                    <a:pt x="1506" y="22"/>
                  </a:moveTo>
                  <a:lnTo>
                    <a:pt x="1506" y="22"/>
                  </a:lnTo>
                  <a:cubicBezTo>
                    <a:pt x="1500" y="22"/>
                    <a:pt x="1495" y="17"/>
                    <a:pt x="1495" y="11"/>
                  </a:cubicBezTo>
                  <a:cubicBezTo>
                    <a:pt x="1495" y="5"/>
                    <a:pt x="1500" y="0"/>
                    <a:pt x="1506" y="0"/>
                  </a:cubicBezTo>
                  <a:cubicBezTo>
                    <a:pt x="1512" y="0"/>
                    <a:pt x="1517" y="5"/>
                    <a:pt x="1517" y="11"/>
                  </a:cubicBezTo>
                  <a:cubicBezTo>
                    <a:pt x="1517" y="17"/>
                    <a:pt x="1512" y="22"/>
                    <a:pt x="1506" y="22"/>
                  </a:cubicBezTo>
                  <a:close/>
                  <a:moveTo>
                    <a:pt x="1399" y="22"/>
                  </a:moveTo>
                  <a:lnTo>
                    <a:pt x="1399" y="22"/>
                  </a:lnTo>
                  <a:cubicBezTo>
                    <a:pt x="1393" y="22"/>
                    <a:pt x="1389" y="17"/>
                    <a:pt x="1389" y="11"/>
                  </a:cubicBezTo>
                  <a:cubicBezTo>
                    <a:pt x="1389" y="5"/>
                    <a:pt x="1393" y="0"/>
                    <a:pt x="1399" y="0"/>
                  </a:cubicBezTo>
                  <a:cubicBezTo>
                    <a:pt x="1405" y="0"/>
                    <a:pt x="1410" y="5"/>
                    <a:pt x="1410" y="11"/>
                  </a:cubicBezTo>
                  <a:cubicBezTo>
                    <a:pt x="1410" y="17"/>
                    <a:pt x="1405" y="22"/>
                    <a:pt x="1399" y="22"/>
                  </a:cubicBezTo>
                  <a:close/>
                  <a:moveTo>
                    <a:pt x="1293" y="22"/>
                  </a:moveTo>
                  <a:lnTo>
                    <a:pt x="1293" y="22"/>
                  </a:lnTo>
                  <a:cubicBezTo>
                    <a:pt x="1287" y="22"/>
                    <a:pt x="1282" y="17"/>
                    <a:pt x="1282" y="11"/>
                  </a:cubicBezTo>
                  <a:cubicBezTo>
                    <a:pt x="1282" y="5"/>
                    <a:pt x="1287" y="0"/>
                    <a:pt x="1293" y="0"/>
                  </a:cubicBezTo>
                  <a:cubicBezTo>
                    <a:pt x="1298" y="0"/>
                    <a:pt x="1303" y="5"/>
                    <a:pt x="1303" y="11"/>
                  </a:cubicBezTo>
                  <a:cubicBezTo>
                    <a:pt x="1303" y="17"/>
                    <a:pt x="1298" y="22"/>
                    <a:pt x="1293" y="22"/>
                  </a:cubicBezTo>
                  <a:close/>
                  <a:moveTo>
                    <a:pt x="1186" y="22"/>
                  </a:moveTo>
                  <a:lnTo>
                    <a:pt x="1186" y="22"/>
                  </a:lnTo>
                  <a:cubicBezTo>
                    <a:pt x="1180" y="22"/>
                    <a:pt x="1175" y="17"/>
                    <a:pt x="1175" y="11"/>
                  </a:cubicBezTo>
                  <a:cubicBezTo>
                    <a:pt x="1175" y="5"/>
                    <a:pt x="1180" y="0"/>
                    <a:pt x="1186" y="0"/>
                  </a:cubicBezTo>
                  <a:cubicBezTo>
                    <a:pt x="1192" y="0"/>
                    <a:pt x="1197" y="5"/>
                    <a:pt x="1197" y="11"/>
                  </a:cubicBezTo>
                  <a:cubicBezTo>
                    <a:pt x="1197" y="17"/>
                    <a:pt x="1192" y="22"/>
                    <a:pt x="1186" y="22"/>
                  </a:cubicBezTo>
                  <a:close/>
                  <a:moveTo>
                    <a:pt x="1079" y="22"/>
                  </a:moveTo>
                  <a:lnTo>
                    <a:pt x="1079" y="22"/>
                  </a:lnTo>
                  <a:cubicBezTo>
                    <a:pt x="1073" y="22"/>
                    <a:pt x="1068" y="17"/>
                    <a:pt x="1068" y="11"/>
                  </a:cubicBezTo>
                  <a:cubicBezTo>
                    <a:pt x="1068" y="5"/>
                    <a:pt x="1073" y="0"/>
                    <a:pt x="1079" y="0"/>
                  </a:cubicBezTo>
                  <a:cubicBezTo>
                    <a:pt x="1085" y="0"/>
                    <a:pt x="1090" y="5"/>
                    <a:pt x="1090" y="11"/>
                  </a:cubicBezTo>
                  <a:cubicBezTo>
                    <a:pt x="1090" y="17"/>
                    <a:pt x="1085" y="22"/>
                    <a:pt x="1079" y="22"/>
                  </a:cubicBezTo>
                  <a:close/>
                  <a:moveTo>
                    <a:pt x="972" y="22"/>
                  </a:moveTo>
                  <a:lnTo>
                    <a:pt x="972" y="22"/>
                  </a:lnTo>
                  <a:cubicBezTo>
                    <a:pt x="967" y="22"/>
                    <a:pt x="962" y="17"/>
                    <a:pt x="962" y="11"/>
                  </a:cubicBezTo>
                  <a:cubicBezTo>
                    <a:pt x="962" y="5"/>
                    <a:pt x="967" y="0"/>
                    <a:pt x="972" y="0"/>
                  </a:cubicBezTo>
                  <a:cubicBezTo>
                    <a:pt x="978" y="0"/>
                    <a:pt x="983" y="5"/>
                    <a:pt x="983" y="11"/>
                  </a:cubicBezTo>
                  <a:cubicBezTo>
                    <a:pt x="983" y="17"/>
                    <a:pt x="978" y="22"/>
                    <a:pt x="972" y="22"/>
                  </a:cubicBezTo>
                  <a:close/>
                  <a:moveTo>
                    <a:pt x="866" y="22"/>
                  </a:moveTo>
                  <a:lnTo>
                    <a:pt x="866" y="22"/>
                  </a:lnTo>
                  <a:cubicBezTo>
                    <a:pt x="860" y="22"/>
                    <a:pt x="855" y="17"/>
                    <a:pt x="855" y="11"/>
                  </a:cubicBezTo>
                  <a:cubicBezTo>
                    <a:pt x="855" y="5"/>
                    <a:pt x="860" y="0"/>
                    <a:pt x="866" y="0"/>
                  </a:cubicBezTo>
                  <a:cubicBezTo>
                    <a:pt x="872" y="0"/>
                    <a:pt x="876" y="5"/>
                    <a:pt x="876" y="11"/>
                  </a:cubicBezTo>
                  <a:cubicBezTo>
                    <a:pt x="876" y="17"/>
                    <a:pt x="872" y="22"/>
                    <a:pt x="866" y="22"/>
                  </a:cubicBezTo>
                  <a:close/>
                  <a:moveTo>
                    <a:pt x="759" y="22"/>
                  </a:moveTo>
                  <a:lnTo>
                    <a:pt x="759" y="22"/>
                  </a:lnTo>
                  <a:cubicBezTo>
                    <a:pt x="753" y="22"/>
                    <a:pt x="748" y="17"/>
                    <a:pt x="748" y="11"/>
                  </a:cubicBezTo>
                  <a:cubicBezTo>
                    <a:pt x="748" y="5"/>
                    <a:pt x="753" y="0"/>
                    <a:pt x="759" y="0"/>
                  </a:cubicBezTo>
                  <a:cubicBezTo>
                    <a:pt x="765" y="0"/>
                    <a:pt x="770" y="5"/>
                    <a:pt x="770" y="11"/>
                  </a:cubicBezTo>
                  <a:cubicBezTo>
                    <a:pt x="770" y="17"/>
                    <a:pt x="765" y="22"/>
                    <a:pt x="759" y="22"/>
                  </a:cubicBezTo>
                  <a:close/>
                  <a:moveTo>
                    <a:pt x="652" y="22"/>
                  </a:moveTo>
                  <a:lnTo>
                    <a:pt x="652" y="22"/>
                  </a:lnTo>
                  <a:cubicBezTo>
                    <a:pt x="647" y="22"/>
                    <a:pt x="642" y="17"/>
                    <a:pt x="642" y="11"/>
                  </a:cubicBezTo>
                  <a:cubicBezTo>
                    <a:pt x="642" y="5"/>
                    <a:pt x="647" y="0"/>
                    <a:pt x="652" y="0"/>
                  </a:cubicBezTo>
                  <a:cubicBezTo>
                    <a:pt x="658" y="0"/>
                    <a:pt x="663" y="5"/>
                    <a:pt x="663" y="11"/>
                  </a:cubicBezTo>
                  <a:cubicBezTo>
                    <a:pt x="663" y="17"/>
                    <a:pt x="658" y="22"/>
                    <a:pt x="652" y="22"/>
                  </a:cubicBezTo>
                  <a:close/>
                  <a:moveTo>
                    <a:pt x="546" y="22"/>
                  </a:moveTo>
                  <a:lnTo>
                    <a:pt x="546" y="22"/>
                  </a:lnTo>
                  <a:cubicBezTo>
                    <a:pt x="540" y="22"/>
                    <a:pt x="535" y="17"/>
                    <a:pt x="535" y="11"/>
                  </a:cubicBezTo>
                  <a:cubicBezTo>
                    <a:pt x="535" y="5"/>
                    <a:pt x="540" y="0"/>
                    <a:pt x="546" y="0"/>
                  </a:cubicBezTo>
                  <a:cubicBezTo>
                    <a:pt x="552" y="0"/>
                    <a:pt x="556" y="5"/>
                    <a:pt x="556" y="11"/>
                  </a:cubicBezTo>
                  <a:cubicBezTo>
                    <a:pt x="556" y="17"/>
                    <a:pt x="552" y="22"/>
                    <a:pt x="546" y="22"/>
                  </a:cubicBezTo>
                  <a:close/>
                  <a:moveTo>
                    <a:pt x="439" y="22"/>
                  </a:moveTo>
                  <a:lnTo>
                    <a:pt x="439" y="22"/>
                  </a:lnTo>
                  <a:cubicBezTo>
                    <a:pt x="433" y="22"/>
                    <a:pt x="428" y="17"/>
                    <a:pt x="428" y="11"/>
                  </a:cubicBezTo>
                  <a:cubicBezTo>
                    <a:pt x="428" y="5"/>
                    <a:pt x="433" y="0"/>
                    <a:pt x="439" y="0"/>
                  </a:cubicBezTo>
                  <a:cubicBezTo>
                    <a:pt x="445" y="0"/>
                    <a:pt x="450" y="5"/>
                    <a:pt x="450" y="11"/>
                  </a:cubicBezTo>
                  <a:cubicBezTo>
                    <a:pt x="450" y="17"/>
                    <a:pt x="445" y="22"/>
                    <a:pt x="439" y="22"/>
                  </a:cubicBezTo>
                  <a:close/>
                  <a:moveTo>
                    <a:pt x="332" y="22"/>
                  </a:moveTo>
                  <a:lnTo>
                    <a:pt x="332" y="22"/>
                  </a:lnTo>
                  <a:cubicBezTo>
                    <a:pt x="326" y="22"/>
                    <a:pt x="322" y="17"/>
                    <a:pt x="322" y="11"/>
                  </a:cubicBezTo>
                  <a:cubicBezTo>
                    <a:pt x="322" y="5"/>
                    <a:pt x="326" y="0"/>
                    <a:pt x="332" y="0"/>
                  </a:cubicBezTo>
                  <a:cubicBezTo>
                    <a:pt x="338" y="0"/>
                    <a:pt x="343" y="5"/>
                    <a:pt x="343" y="11"/>
                  </a:cubicBezTo>
                  <a:cubicBezTo>
                    <a:pt x="343" y="17"/>
                    <a:pt x="338" y="22"/>
                    <a:pt x="332" y="22"/>
                  </a:cubicBezTo>
                  <a:close/>
                  <a:moveTo>
                    <a:pt x="226" y="22"/>
                  </a:moveTo>
                  <a:lnTo>
                    <a:pt x="226" y="22"/>
                  </a:lnTo>
                  <a:cubicBezTo>
                    <a:pt x="220" y="22"/>
                    <a:pt x="215" y="17"/>
                    <a:pt x="215" y="11"/>
                  </a:cubicBezTo>
                  <a:cubicBezTo>
                    <a:pt x="215" y="5"/>
                    <a:pt x="220" y="0"/>
                    <a:pt x="226" y="0"/>
                  </a:cubicBezTo>
                  <a:cubicBezTo>
                    <a:pt x="232" y="0"/>
                    <a:pt x="236" y="5"/>
                    <a:pt x="236" y="11"/>
                  </a:cubicBezTo>
                  <a:cubicBezTo>
                    <a:pt x="236" y="17"/>
                    <a:pt x="232" y="22"/>
                    <a:pt x="226" y="22"/>
                  </a:cubicBezTo>
                  <a:close/>
                  <a:moveTo>
                    <a:pt x="119" y="22"/>
                  </a:moveTo>
                  <a:lnTo>
                    <a:pt x="119" y="22"/>
                  </a:lnTo>
                  <a:cubicBezTo>
                    <a:pt x="113" y="22"/>
                    <a:pt x="108" y="17"/>
                    <a:pt x="108" y="11"/>
                  </a:cubicBezTo>
                  <a:cubicBezTo>
                    <a:pt x="108" y="5"/>
                    <a:pt x="113" y="0"/>
                    <a:pt x="119" y="0"/>
                  </a:cubicBezTo>
                  <a:cubicBezTo>
                    <a:pt x="125" y="0"/>
                    <a:pt x="130" y="5"/>
                    <a:pt x="130" y="11"/>
                  </a:cubicBezTo>
                  <a:cubicBezTo>
                    <a:pt x="130" y="17"/>
                    <a:pt x="125" y="22"/>
                    <a:pt x="119" y="22"/>
                  </a:cubicBezTo>
                  <a:close/>
                  <a:moveTo>
                    <a:pt x="12" y="22"/>
                  </a:moveTo>
                  <a:lnTo>
                    <a:pt x="12" y="22"/>
                  </a:lnTo>
                  <a:cubicBezTo>
                    <a:pt x="6" y="22"/>
                    <a:pt x="2" y="17"/>
                    <a:pt x="2" y="11"/>
                  </a:cubicBezTo>
                  <a:cubicBezTo>
                    <a:pt x="2" y="5"/>
                    <a:pt x="6" y="0"/>
                    <a:pt x="12" y="0"/>
                  </a:cubicBezTo>
                  <a:cubicBezTo>
                    <a:pt x="18" y="0"/>
                    <a:pt x="23" y="5"/>
                    <a:pt x="23" y="11"/>
                  </a:cubicBezTo>
                  <a:cubicBezTo>
                    <a:pt x="23" y="17"/>
                    <a:pt x="18" y="22"/>
                    <a:pt x="12" y="22"/>
                  </a:cubicBezTo>
                  <a:close/>
                </a:path>
              </a:pathLst>
            </a:custGeom>
            <a:solidFill>
              <a:srgbClr val="00BCF2"/>
            </a:solidFill>
            <a:ln w="1588" cap="flat">
              <a:solidFill>
                <a:srgbClr val="00BCF2"/>
              </a:solidFill>
              <a:prstDash val="solid"/>
              <a:round/>
              <a:headEnd/>
              <a:tailEnd/>
            </a:ln>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en-US" sz="1377" noProof="1"/>
            </a:p>
          </p:txBody>
        </p:sp>
        <p:sp>
          <p:nvSpPr>
            <p:cNvPr id="171" name="Rectangle 170"/>
            <p:cNvSpPr>
              <a:spLocks noChangeArrowheads="1"/>
            </p:cNvSpPr>
            <p:nvPr/>
          </p:nvSpPr>
          <p:spPr bwMode="auto">
            <a:xfrm>
              <a:off x="5574" y="1905"/>
              <a:ext cx="257" cy="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r>
                <a:rPr lang="en-US" altLang="en-US" sz="1200" noProof="1">
                  <a:latin typeface="Segoe UI" panose="020B0502040204020203" pitchFamily="34" charset="0"/>
                  <a:cs typeface="Segoe UI" panose="020B0502040204020203" pitchFamily="34" charset="0"/>
                </a:rPr>
                <a:t>VNet</a:t>
              </a:r>
              <a:endParaRPr lang="en-US" altLang="en-US" sz="1071" noProof="1">
                <a:latin typeface="Segoe UI" panose="020B0502040204020203" pitchFamily="34" charset="0"/>
                <a:cs typeface="Segoe UI" panose="020B0502040204020203" pitchFamily="34" charset="0"/>
              </a:endParaRPr>
            </a:p>
          </p:txBody>
        </p:sp>
      </p:grpSp>
      <p:grpSp>
        <p:nvGrpSpPr>
          <p:cNvPr id="172" name="Group 171"/>
          <p:cNvGrpSpPr/>
          <p:nvPr/>
        </p:nvGrpSpPr>
        <p:grpSpPr>
          <a:xfrm>
            <a:off x="1912944" y="4878515"/>
            <a:ext cx="1053494" cy="794623"/>
            <a:chOff x="7236051" y="4416382"/>
            <a:chExt cx="1377359" cy="1038906"/>
          </a:xfrm>
        </p:grpSpPr>
        <p:pic>
          <p:nvPicPr>
            <p:cNvPr id="173" name="Picture 9"/>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685187" y="4928238"/>
              <a:ext cx="398462" cy="527050"/>
            </a:xfrm>
            <a:prstGeom prst="rect">
              <a:avLst/>
            </a:prstGeom>
            <a:noFill/>
            <a:ln>
              <a:noFill/>
            </a:ln>
          </p:spPr>
        </p:pic>
        <p:sp>
          <p:nvSpPr>
            <p:cNvPr id="174" name="TextBox 173"/>
            <p:cNvSpPr txBox="1"/>
            <p:nvPr/>
          </p:nvSpPr>
          <p:spPr>
            <a:xfrm>
              <a:off x="7236051" y="4416382"/>
              <a:ext cx="1377359" cy="482872"/>
            </a:xfrm>
            <a:prstGeom prst="rect">
              <a:avLst/>
            </a:prstGeom>
            <a:noFill/>
          </p:spPr>
          <p:txBody>
            <a:bodyPr wrap="none" rtlCol="0">
              <a:spAutoFit/>
            </a:bodyPr>
            <a:lstStyle/>
            <a:p>
              <a:r>
                <a:rPr lang="en-US" noProof="1"/>
                <a:t>Public IP</a:t>
              </a:r>
            </a:p>
          </p:txBody>
        </p:sp>
      </p:grpSp>
      <p:cxnSp>
        <p:nvCxnSpPr>
          <p:cNvPr id="175" name="Straight Arrow Connector 174"/>
          <p:cNvCxnSpPr/>
          <p:nvPr/>
        </p:nvCxnSpPr>
        <p:spPr>
          <a:xfrm flipH="1">
            <a:off x="2915858" y="4595085"/>
            <a:ext cx="949893" cy="566858"/>
          </a:xfrm>
          <a:prstGeom prst="straightConnector1">
            <a:avLst/>
          </a:prstGeom>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6" name="Group 175"/>
          <p:cNvGrpSpPr/>
          <p:nvPr/>
        </p:nvGrpSpPr>
        <p:grpSpPr>
          <a:xfrm>
            <a:off x="3865750" y="4019752"/>
            <a:ext cx="840029" cy="812199"/>
            <a:chOff x="7106678" y="4636265"/>
            <a:chExt cx="1098270" cy="1061885"/>
          </a:xfrm>
        </p:grpSpPr>
        <p:pic>
          <p:nvPicPr>
            <p:cNvPr id="177" name="Picture 17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26512" y="5121905"/>
              <a:ext cx="778436" cy="576245"/>
            </a:xfrm>
            <a:prstGeom prst="rect">
              <a:avLst/>
            </a:prstGeom>
          </p:spPr>
        </p:pic>
        <p:sp>
          <p:nvSpPr>
            <p:cNvPr id="178" name="TextBox 177"/>
            <p:cNvSpPr txBox="1"/>
            <p:nvPr/>
          </p:nvSpPr>
          <p:spPr>
            <a:xfrm>
              <a:off x="7106678" y="4636265"/>
              <a:ext cx="744427" cy="490081"/>
            </a:xfrm>
            <a:prstGeom prst="rect">
              <a:avLst/>
            </a:prstGeom>
            <a:noFill/>
          </p:spPr>
          <p:txBody>
            <a:bodyPr wrap="none" rtlCol="0">
              <a:spAutoFit/>
            </a:bodyPr>
            <a:lstStyle/>
            <a:p>
              <a:r>
                <a:rPr lang="en-US" sz="1836" noProof="1"/>
                <a:t>NIC</a:t>
              </a:r>
            </a:p>
          </p:txBody>
        </p:sp>
      </p:grpSp>
      <p:cxnSp>
        <p:nvCxnSpPr>
          <p:cNvPr id="179" name="Straight Arrow Connector 178"/>
          <p:cNvCxnSpPr/>
          <p:nvPr/>
        </p:nvCxnSpPr>
        <p:spPr>
          <a:xfrm>
            <a:off x="4686349" y="4978014"/>
            <a:ext cx="165339" cy="499050"/>
          </a:xfrm>
          <a:prstGeom prst="straightConnector1">
            <a:avLst/>
          </a:prstGeom>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p:cNvCxnSpPr/>
          <p:nvPr/>
        </p:nvCxnSpPr>
        <p:spPr>
          <a:xfrm flipH="1" flipV="1">
            <a:off x="4744549" y="3737954"/>
            <a:ext cx="1251621" cy="950072"/>
          </a:xfrm>
          <a:prstGeom prst="straightConnector1">
            <a:avLst/>
          </a:prstGeom>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p:cNvCxnSpPr/>
          <p:nvPr/>
        </p:nvCxnSpPr>
        <p:spPr>
          <a:xfrm>
            <a:off x="4521862" y="3809643"/>
            <a:ext cx="0" cy="436328"/>
          </a:xfrm>
          <a:prstGeom prst="straightConnector1">
            <a:avLst/>
          </a:prstGeom>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9447977" y="3843434"/>
            <a:ext cx="1513761" cy="805074"/>
          </a:xfrm>
          <a:prstGeom prst="rect">
            <a:avLst/>
          </a:prstGeom>
          <a:noFill/>
          <a:ln w="25400">
            <a:solidFill>
              <a:schemeClr val="accent1"/>
            </a:solidFill>
          </a:ln>
        </p:spPr>
        <p:txBody>
          <a:bodyPr wrap="square" lIns="137148" tIns="109719" rIns="137148" bIns="109719" rtlCol="0">
            <a:spAutoFit/>
          </a:bodyPr>
          <a:lstStyle/>
          <a:p>
            <a:pPr>
              <a:lnSpc>
                <a:spcPct val="90000"/>
              </a:lnSpc>
              <a:spcAft>
                <a:spcPts val="450"/>
              </a:spcAft>
            </a:pPr>
            <a:r>
              <a:rPr lang="en-US" sz="1400" noProof="1"/>
              <a:t>storageAccount</a:t>
            </a:r>
          </a:p>
          <a:p>
            <a:pPr marL="257141" indent="-257141">
              <a:lnSpc>
                <a:spcPct val="90000"/>
              </a:lnSpc>
              <a:spcAft>
                <a:spcPts val="450"/>
              </a:spcAft>
              <a:buFontTx/>
              <a:buChar char="-"/>
            </a:pPr>
            <a:r>
              <a:rPr lang="en-US" sz="1200" noProof="1"/>
              <a:t>accountType</a:t>
            </a:r>
            <a:br>
              <a:rPr lang="en-US" sz="1200" noProof="1"/>
            </a:br>
            <a:endParaRPr lang="en-US" sz="1200" noProof="1"/>
          </a:p>
        </p:txBody>
      </p:sp>
      <p:sp>
        <p:nvSpPr>
          <p:cNvPr id="183" name="TextBox 182"/>
          <p:cNvSpPr txBox="1"/>
          <p:nvPr/>
        </p:nvSpPr>
        <p:spPr>
          <a:xfrm>
            <a:off x="6999240" y="4751301"/>
            <a:ext cx="1809079" cy="869194"/>
          </a:xfrm>
          <a:prstGeom prst="rect">
            <a:avLst/>
          </a:prstGeom>
          <a:noFill/>
          <a:ln w="25400">
            <a:solidFill>
              <a:schemeClr val="accent1"/>
            </a:solidFill>
          </a:ln>
        </p:spPr>
        <p:txBody>
          <a:bodyPr wrap="square" lIns="137148" tIns="109719" rIns="137148" bIns="109719" rtlCol="0">
            <a:spAutoFit/>
          </a:bodyPr>
          <a:lstStyle/>
          <a:p>
            <a:pPr>
              <a:lnSpc>
                <a:spcPct val="90000"/>
              </a:lnSpc>
              <a:spcAft>
                <a:spcPts val="450"/>
              </a:spcAft>
            </a:pPr>
            <a:r>
              <a:rPr lang="en-US" sz="1400" noProof="1"/>
              <a:t>publicIPAddress</a:t>
            </a:r>
          </a:p>
          <a:p>
            <a:pPr marL="257141" indent="-257141">
              <a:lnSpc>
                <a:spcPct val="90000"/>
              </a:lnSpc>
              <a:spcAft>
                <a:spcPts val="450"/>
              </a:spcAft>
              <a:buFontTx/>
              <a:buChar char="-"/>
            </a:pPr>
            <a:r>
              <a:rPr lang="en-US" sz="1200" noProof="1"/>
              <a:t>allocationMethod</a:t>
            </a:r>
          </a:p>
          <a:p>
            <a:pPr marL="257141" indent="-257141">
              <a:lnSpc>
                <a:spcPct val="90000"/>
              </a:lnSpc>
              <a:spcAft>
                <a:spcPts val="450"/>
              </a:spcAft>
              <a:buFontTx/>
              <a:buChar char="-"/>
            </a:pPr>
            <a:r>
              <a:rPr lang="en-US" sz="1200" noProof="1"/>
              <a:t>domainNameLabel</a:t>
            </a:r>
          </a:p>
        </p:txBody>
      </p:sp>
      <p:sp>
        <p:nvSpPr>
          <p:cNvPr id="184" name="TextBox 183"/>
          <p:cNvSpPr txBox="1"/>
          <p:nvPr/>
        </p:nvSpPr>
        <p:spPr>
          <a:xfrm>
            <a:off x="8914218" y="4744373"/>
            <a:ext cx="1871055" cy="1099514"/>
          </a:xfrm>
          <a:prstGeom prst="rect">
            <a:avLst/>
          </a:prstGeom>
          <a:noFill/>
          <a:ln w="25400">
            <a:solidFill>
              <a:schemeClr val="accent1"/>
            </a:solidFill>
          </a:ln>
        </p:spPr>
        <p:txBody>
          <a:bodyPr wrap="square" lIns="137148" tIns="109719" rIns="137148" bIns="109719" rtlCol="0">
            <a:spAutoFit/>
          </a:bodyPr>
          <a:lstStyle/>
          <a:p>
            <a:pPr>
              <a:lnSpc>
                <a:spcPct val="90000"/>
              </a:lnSpc>
              <a:spcAft>
                <a:spcPts val="450"/>
              </a:spcAft>
            </a:pPr>
            <a:r>
              <a:rPr lang="en-US" sz="1400" noProof="1"/>
              <a:t>virtualNetwork</a:t>
            </a:r>
          </a:p>
          <a:p>
            <a:pPr marL="257141" indent="-257141">
              <a:lnSpc>
                <a:spcPct val="90000"/>
              </a:lnSpc>
              <a:spcAft>
                <a:spcPts val="450"/>
              </a:spcAft>
              <a:buFontTx/>
              <a:buChar char="-"/>
            </a:pPr>
            <a:r>
              <a:rPr lang="en-US" sz="1200" noProof="1"/>
              <a:t>addressSpace</a:t>
            </a:r>
          </a:p>
          <a:p>
            <a:pPr marL="257141" indent="-257141">
              <a:lnSpc>
                <a:spcPct val="90000"/>
              </a:lnSpc>
              <a:spcAft>
                <a:spcPts val="450"/>
              </a:spcAft>
              <a:buFontTx/>
              <a:buChar char="-"/>
            </a:pPr>
            <a:r>
              <a:rPr lang="en-US" sz="1200" noProof="1"/>
              <a:t>Subnet</a:t>
            </a:r>
          </a:p>
          <a:p>
            <a:pPr marL="606872" lvl="1" indent="-257141">
              <a:lnSpc>
                <a:spcPct val="90000"/>
              </a:lnSpc>
              <a:spcAft>
                <a:spcPts val="450"/>
              </a:spcAft>
              <a:buFontTx/>
              <a:buChar char="-"/>
            </a:pPr>
            <a:r>
              <a:rPr lang="en-US" sz="1200" noProof="1"/>
              <a:t>addressPrefix</a:t>
            </a:r>
          </a:p>
        </p:txBody>
      </p:sp>
      <p:sp>
        <p:nvSpPr>
          <p:cNvPr id="185" name="TextBox 184"/>
          <p:cNvSpPr txBox="1"/>
          <p:nvPr/>
        </p:nvSpPr>
        <p:spPr>
          <a:xfrm>
            <a:off x="6999240" y="3828008"/>
            <a:ext cx="2333748" cy="805074"/>
          </a:xfrm>
          <a:prstGeom prst="rect">
            <a:avLst/>
          </a:prstGeom>
          <a:noFill/>
          <a:ln w="25400">
            <a:solidFill>
              <a:schemeClr val="accent1"/>
            </a:solidFill>
          </a:ln>
        </p:spPr>
        <p:txBody>
          <a:bodyPr wrap="square" lIns="137148" tIns="109719" rIns="137148" bIns="109719" rtlCol="0">
            <a:spAutoFit/>
          </a:bodyPr>
          <a:lstStyle/>
          <a:p>
            <a:pPr>
              <a:lnSpc>
                <a:spcPct val="90000"/>
              </a:lnSpc>
              <a:spcAft>
                <a:spcPts val="450"/>
              </a:spcAft>
            </a:pPr>
            <a:r>
              <a:rPr lang="en-US" sz="1400" noProof="1"/>
              <a:t>networkInterface</a:t>
            </a:r>
          </a:p>
          <a:p>
            <a:pPr marL="257141" indent="-257141">
              <a:lnSpc>
                <a:spcPct val="90000"/>
              </a:lnSpc>
              <a:spcAft>
                <a:spcPts val="450"/>
              </a:spcAft>
              <a:buFontTx/>
              <a:buChar char="-"/>
            </a:pPr>
            <a:r>
              <a:rPr lang="en-US" sz="1200" noProof="1"/>
              <a:t>privateIPAllocationMethod</a:t>
            </a:r>
            <a:br>
              <a:rPr lang="en-US" sz="1200" noProof="1"/>
            </a:br>
            <a:endParaRPr lang="en-US" sz="1200" noProof="1"/>
          </a:p>
        </p:txBody>
      </p:sp>
      <p:sp>
        <p:nvSpPr>
          <p:cNvPr id="186" name="TextBox 185"/>
          <p:cNvSpPr txBox="1"/>
          <p:nvPr/>
        </p:nvSpPr>
        <p:spPr>
          <a:xfrm>
            <a:off x="7005835" y="2408655"/>
            <a:ext cx="2070842" cy="1329833"/>
          </a:xfrm>
          <a:prstGeom prst="rect">
            <a:avLst/>
          </a:prstGeom>
          <a:noFill/>
          <a:ln w="25400">
            <a:solidFill>
              <a:schemeClr val="accent1"/>
            </a:solidFill>
          </a:ln>
        </p:spPr>
        <p:txBody>
          <a:bodyPr wrap="square" lIns="137148" tIns="109719" rIns="137148" bIns="109719" rtlCol="0">
            <a:spAutoFit/>
          </a:bodyPr>
          <a:lstStyle/>
          <a:p>
            <a:pPr>
              <a:lnSpc>
                <a:spcPct val="90000"/>
              </a:lnSpc>
              <a:spcAft>
                <a:spcPts val="450"/>
              </a:spcAft>
            </a:pPr>
            <a:r>
              <a:rPr lang="en-US" sz="1400" noProof="1"/>
              <a:t>virtualMachine</a:t>
            </a:r>
          </a:p>
          <a:p>
            <a:pPr marL="257141" indent="-257141">
              <a:lnSpc>
                <a:spcPct val="90000"/>
              </a:lnSpc>
              <a:spcAft>
                <a:spcPts val="450"/>
              </a:spcAft>
              <a:buFontTx/>
              <a:buChar char="-"/>
            </a:pPr>
            <a:r>
              <a:rPr lang="en-US" sz="1200" noProof="1"/>
              <a:t>hardwareProfile</a:t>
            </a:r>
          </a:p>
          <a:p>
            <a:pPr marL="257141" indent="-257141">
              <a:lnSpc>
                <a:spcPct val="90000"/>
              </a:lnSpc>
              <a:spcAft>
                <a:spcPts val="450"/>
              </a:spcAft>
              <a:buFontTx/>
              <a:buChar char="-"/>
            </a:pPr>
            <a:r>
              <a:rPr lang="en-US" sz="1200" noProof="1"/>
              <a:t>osProfile</a:t>
            </a:r>
          </a:p>
          <a:p>
            <a:pPr marL="257141" indent="-257141">
              <a:lnSpc>
                <a:spcPct val="90000"/>
              </a:lnSpc>
              <a:spcAft>
                <a:spcPts val="450"/>
              </a:spcAft>
              <a:buFontTx/>
              <a:buChar char="-"/>
            </a:pPr>
            <a:r>
              <a:rPr lang="en-US" sz="1200" noProof="1"/>
              <a:t>storageProfile</a:t>
            </a:r>
          </a:p>
          <a:p>
            <a:pPr marL="257141" indent="-257141">
              <a:lnSpc>
                <a:spcPct val="90000"/>
              </a:lnSpc>
              <a:spcAft>
                <a:spcPts val="450"/>
              </a:spcAft>
              <a:buFontTx/>
              <a:buChar char="-"/>
            </a:pPr>
            <a:r>
              <a:rPr lang="en-US" sz="1200" noProof="1"/>
              <a:t>networkProfile</a:t>
            </a:r>
          </a:p>
        </p:txBody>
      </p:sp>
      <p:sp>
        <p:nvSpPr>
          <p:cNvPr id="187" name="Rectangle 186"/>
          <p:cNvSpPr/>
          <p:nvPr/>
        </p:nvSpPr>
        <p:spPr>
          <a:xfrm>
            <a:off x="366169" y="6408447"/>
            <a:ext cx="7239000" cy="300082"/>
          </a:xfrm>
          <a:prstGeom prst="rect">
            <a:avLst/>
          </a:prstGeom>
        </p:spPr>
        <p:txBody>
          <a:bodyPr wrap="square">
            <a:spAutoFit/>
          </a:bodyPr>
          <a:lstStyle/>
          <a:p>
            <a:r>
              <a:rPr lang="en-US" sz="1350" noProof="1"/>
              <a:t>https://github.com/Azure/azure-quickstart-templates/tree/master/101-vm-simple-windows </a:t>
            </a:r>
          </a:p>
        </p:txBody>
      </p:sp>
    </p:spTree>
    <p:extLst>
      <p:ext uri="{BB962C8B-B14F-4D97-AF65-F5344CB8AC3E}">
        <p14:creationId xmlns:p14="http://schemas.microsoft.com/office/powerpoint/2010/main" val="651085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8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animBg="1"/>
      <p:bldP spid="183" grpId="0" animBg="1"/>
      <p:bldP spid="184" grpId="0" animBg="1"/>
      <p:bldP spid="185" grpId="0" animBg="1"/>
      <p:bldP spid="186" grpId="0" animBg="1"/>
      <p:bldP spid="187"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9" y="1212850"/>
            <a:ext cx="5546476" cy="683264"/>
          </a:xfrm>
        </p:spPr>
        <p:txBody>
          <a:bodyPr/>
          <a:lstStyle/>
          <a:p>
            <a:pPr marL="0" indent="0">
              <a:buNone/>
            </a:pPr>
            <a:r>
              <a:rPr lang="en-US"/>
              <a:t>Declare multiple resources</a:t>
            </a:r>
          </a:p>
        </p:txBody>
      </p:sp>
      <p:sp>
        <p:nvSpPr>
          <p:cNvPr id="3" name="Title 2"/>
          <p:cNvSpPr>
            <a:spLocks noGrp="1"/>
          </p:cNvSpPr>
          <p:nvPr>
            <p:ph type="title"/>
          </p:nvPr>
        </p:nvSpPr>
        <p:spPr>
          <a:xfrm>
            <a:off x="366169" y="295278"/>
            <a:ext cx="11702551" cy="917575"/>
          </a:xfrm>
        </p:spPr>
        <p:txBody>
          <a:bodyPr/>
          <a:lstStyle/>
          <a:p>
            <a:r>
              <a:rPr lang="en-US" sz="4800"/>
              <a:t>Resource loops</a:t>
            </a:r>
          </a:p>
        </p:txBody>
      </p:sp>
      <p:grpSp>
        <p:nvGrpSpPr>
          <p:cNvPr id="5" name="Group 4"/>
          <p:cNvGrpSpPr/>
          <p:nvPr/>
        </p:nvGrpSpPr>
        <p:grpSpPr>
          <a:xfrm>
            <a:off x="1712477" y="1896114"/>
            <a:ext cx="8400335" cy="4092978"/>
            <a:chOff x="6581595" y="1353186"/>
            <a:chExt cx="5151693" cy="4489624"/>
          </a:xfrm>
        </p:grpSpPr>
        <p:sp>
          <p:nvSpPr>
            <p:cNvPr id="6" name="Rounded Rectangle 3"/>
            <p:cNvSpPr/>
            <p:nvPr/>
          </p:nvSpPr>
          <p:spPr bwMode="auto">
            <a:xfrm>
              <a:off x="6581595" y="1830772"/>
              <a:ext cx="5151693" cy="4012038"/>
            </a:xfrm>
            <a:prstGeom prst="roundRect">
              <a:avLst/>
            </a:prstGeom>
            <a:noFill/>
            <a:ln w="25400">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a:solidFill>
                  <a:schemeClr val="tx1"/>
                </a:solidFill>
                <a:ea typeface="Segoe UI" pitchFamily="34" charset="0"/>
                <a:cs typeface="Segoe UI" pitchFamily="34" charset="0"/>
              </a:endParaRPr>
            </a:p>
          </p:txBody>
        </p:sp>
        <p:sp>
          <p:nvSpPr>
            <p:cNvPr id="7" name="TextBox 6"/>
            <p:cNvSpPr txBox="1"/>
            <p:nvPr/>
          </p:nvSpPr>
          <p:spPr>
            <a:xfrm>
              <a:off x="6675176" y="1353186"/>
              <a:ext cx="1126882" cy="411172"/>
            </a:xfrm>
            <a:prstGeom prst="rect">
              <a:avLst/>
            </a:prstGeom>
            <a:noFill/>
          </p:spPr>
          <p:txBody>
            <a:bodyPr wrap="none" rtlCol="0">
              <a:spAutoFit/>
            </a:bodyPr>
            <a:lstStyle/>
            <a:p>
              <a:r>
                <a:rPr lang="en-US" sz="1836"/>
                <a:t>Resource group</a:t>
              </a:r>
            </a:p>
          </p:txBody>
        </p:sp>
      </p:grpSp>
      <p:grpSp>
        <p:nvGrpSpPr>
          <p:cNvPr id="8" name="Group 7"/>
          <p:cNvGrpSpPr/>
          <p:nvPr/>
        </p:nvGrpSpPr>
        <p:grpSpPr>
          <a:xfrm>
            <a:off x="2317430" y="2781947"/>
            <a:ext cx="5623867" cy="2044484"/>
            <a:chOff x="7021426" y="2789655"/>
            <a:chExt cx="1874816" cy="1296510"/>
          </a:xfrm>
        </p:grpSpPr>
        <p:sp>
          <p:nvSpPr>
            <p:cNvPr id="9" name="Rounded Rectangle 15"/>
            <p:cNvSpPr/>
            <p:nvPr/>
          </p:nvSpPr>
          <p:spPr bwMode="auto">
            <a:xfrm>
              <a:off x="7021426" y="2789655"/>
              <a:ext cx="1874816" cy="1296510"/>
            </a:xfrm>
            <a:prstGeom prst="roundRect">
              <a:avLst/>
            </a:prstGeom>
            <a:noFill/>
            <a:ln w="25400">
              <a:solidFill>
                <a:schemeClr val="accent6"/>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a:solidFill>
                  <a:schemeClr val="tx1"/>
                </a:solidFill>
                <a:ea typeface="Segoe UI" pitchFamily="34" charset="0"/>
                <a:cs typeface="Segoe UI" pitchFamily="34" charset="0"/>
              </a:endParaRPr>
            </a:p>
          </p:txBody>
        </p:sp>
        <p:sp>
          <p:nvSpPr>
            <p:cNvPr id="10" name="TextBox 9"/>
            <p:cNvSpPr txBox="1"/>
            <p:nvPr/>
          </p:nvSpPr>
          <p:spPr>
            <a:xfrm>
              <a:off x="7882823" y="2798606"/>
              <a:ext cx="224016" cy="178017"/>
            </a:xfrm>
            <a:prstGeom prst="rect">
              <a:avLst/>
            </a:prstGeom>
            <a:noFill/>
          </p:spPr>
          <p:txBody>
            <a:bodyPr wrap="none" rtlCol="0">
              <a:spAutoFit/>
            </a:bodyPr>
            <a:lstStyle/>
            <a:p>
              <a:r>
                <a:rPr lang="en-US" sz="1200"/>
                <a:t>Subnet</a:t>
              </a:r>
            </a:p>
          </p:txBody>
        </p:sp>
      </p:grpSp>
      <p:grpSp>
        <p:nvGrpSpPr>
          <p:cNvPr id="11" name="Group 10"/>
          <p:cNvGrpSpPr/>
          <p:nvPr/>
        </p:nvGrpSpPr>
        <p:grpSpPr>
          <a:xfrm>
            <a:off x="7876920" y="4836279"/>
            <a:ext cx="981551" cy="1013909"/>
            <a:chOff x="10150511" y="4293902"/>
            <a:chExt cx="1250154" cy="1221361"/>
          </a:xfrm>
        </p:grpSpPr>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407372" y="4760264"/>
              <a:ext cx="754999" cy="75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a:off x="10150511" y="4293902"/>
              <a:ext cx="1250154" cy="451542"/>
            </a:xfrm>
            <a:prstGeom prst="rect">
              <a:avLst/>
            </a:prstGeom>
            <a:noFill/>
          </p:spPr>
          <p:txBody>
            <a:bodyPr wrap="none" rtlCol="0">
              <a:spAutoFit/>
            </a:bodyPr>
            <a:lstStyle/>
            <a:p>
              <a:r>
                <a:rPr lang="en-US"/>
                <a:t>Storage</a:t>
              </a:r>
              <a:endParaRPr lang="en-US" sz="1836"/>
            </a:p>
          </p:txBody>
        </p:sp>
      </p:grpSp>
      <p:grpSp>
        <p:nvGrpSpPr>
          <p:cNvPr id="14" name="Group 13"/>
          <p:cNvGrpSpPr/>
          <p:nvPr/>
        </p:nvGrpSpPr>
        <p:grpSpPr>
          <a:xfrm>
            <a:off x="2669380" y="2976721"/>
            <a:ext cx="1631234" cy="825408"/>
            <a:chOff x="7165720" y="3276805"/>
            <a:chExt cx="1032266" cy="747678"/>
          </a:xfrm>
        </p:grpSpPr>
        <p:pic>
          <p:nvPicPr>
            <p:cNvPr id="15" name="Picture 14"/>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7793220" y="3276805"/>
              <a:ext cx="404766" cy="334551"/>
            </a:xfrm>
            <a:prstGeom prst="rect">
              <a:avLst/>
            </a:prstGeom>
            <a:noFill/>
          </p:spPr>
          <p:txBody>
            <a:bodyPr wrap="square" rtlCol="0">
              <a:spAutoFit/>
            </a:bodyPr>
            <a:lstStyle/>
            <a:p>
              <a:r>
                <a:rPr lang="en-US"/>
                <a:t>VM</a:t>
              </a:r>
            </a:p>
          </p:txBody>
        </p:sp>
      </p:grpSp>
      <p:grpSp>
        <p:nvGrpSpPr>
          <p:cNvPr id="17" name="Group 16"/>
          <p:cNvGrpSpPr>
            <a:grpSpLocks noChangeAspect="1"/>
          </p:cNvGrpSpPr>
          <p:nvPr/>
        </p:nvGrpSpPr>
        <p:grpSpPr bwMode="auto">
          <a:xfrm>
            <a:off x="2059107" y="2525464"/>
            <a:ext cx="7767979" cy="2699482"/>
            <a:chOff x="4799" y="1203"/>
            <a:chExt cx="1945" cy="796"/>
          </a:xfrm>
        </p:grpSpPr>
        <p:sp>
          <p:nvSpPr>
            <p:cNvPr id="18" name="AutoShape 3"/>
            <p:cNvSpPr>
              <a:spLocks noChangeAspect="1" noChangeArrowheads="1" noTextEdit="1"/>
            </p:cNvSpPr>
            <p:nvPr/>
          </p:nvSpPr>
          <p:spPr bwMode="auto">
            <a:xfrm>
              <a:off x="4799" y="1203"/>
              <a:ext cx="1945" cy="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en-US" sz="1377"/>
            </a:p>
          </p:txBody>
        </p:sp>
        <p:sp>
          <p:nvSpPr>
            <p:cNvPr id="19" name="Freeform 26"/>
            <p:cNvSpPr>
              <a:spLocks noEditPoints="1"/>
            </p:cNvSpPr>
            <p:nvPr/>
          </p:nvSpPr>
          <p:spPr bwMode="auto">
            <a:xfrm>
              <a:off x="4813" y="1217"/>
              <a:ext cx="1922" cy="774"/>
            </a:xfrm>
            <a:custGeom>
              <a:avLst/>
              <a:gdLst>
                <a:gd name="T0" fmla="*/ 11 w 2134"/>
                <a:gd name="T1" fmla="*/ 16 h 855"/>
                <a:gd name="T2" fmla="*/ 11 w 2134"/>
                <a:gd name="T3" fmla="*/ 69 h 855"/>
                <a:gd name="T4" fmla="*/ 11 w 2134"/>
                <a:gd name="T5" fmla="*/ 123 h 855"/>
                <a:gd name="T6" fmla="*/ 11 w 2134"/>
                <a:gd name="T7" fmla="*/ 177 h 855"/>
                <a:gd name="T8" fmla="*/ 11 w 2134"/>
                <a:gd name="T9" fmla="*/ 229 h 855"/>
                <a:gd name="T10" fmla="*/ 11 w 2134"/>
                <a:gd name="T11" fmla="*/ 282 h 855"/>
                <a:gd name="T12" fmla="*/ 11 w 2134"/>
                <a:gd name="T13" fmla="*/ 335 h 855"/>
                <a:gd name="T14" fmla="*/ 11 w 2134"/>
                <a:gd name="T15" fmla="*/ 387 h 855"/>
                <a:gd name="T16" fmla="*/ 26 w 2134"/>
                <a:gd name="T17" fmla="*/ 415 h 855"/>
                <a:gd name="T18" fmla="*/ 77 w 2134"/>
                <a:gd name="T19" fmla="*/ 415 h 855"/>
                <a:gd name="T20" fmla="*/ 129 w 2134"/>
                <a:gd name="T21" fmla="*/ 415 h 855"/>
                <a:gd name="T22" fmla="*/ 180 w 2134"/>
                <a:gd name="T23" fmla="*/ 415 h 855"/>
                <a:gd name="T24" fmla="*/ 231 w 2134"/>
                <a:gd name="T25" fmla="*/ 415 h 855"/>
                <a:gd name="T26" fmla="*/ 282 w 2134"/>
                <a:gd name="T27" fmla="*/ 415 h 855"/>
                <a:gd name="T28" fmla="*/ 333 w 2134"/>
                <a:gd name="T29" fmla="*/ 415 h 855"/>
                <a:gd name="T30" fmla="*/ 385 w 2134"/>
                <a:gd name="T31" fmla="*/ 415 h 855"/>
                <a:gd name="T32" fmla="*/ 436 w 2134"/>
                <a:gd name="T33" fmla="*/ 415 h 855"/>
                <a:gd name="T34" fmla="*/ 486 w 2134"/>
                <a:gd name="T35" fmla="*/ 415 h 855"/>
                <a:gd name="T36" fmla="*/ 539 w 2134"/>
                <a:gd name="T37" fmla="*/ 415 h 855"/>
                <a:gd name="T38" fmla="*/ 589 w 2134"/>
                <a:gd name="T39" fmla="*/ 415 h 855"/>
                <a:gd name="T40" fmla="*/ 641 w 2134"/>
                <a:gd name="T41" fmla="*/ 415 h 855"/>
                <a:gd name="T42" fmla="*/ 692 w 2134"/>
                <a:gd name="T43" fmla="*/ 415 h 855"/>
                <a:gd name="T44" fmla="*/ 743 w 2134"/>
                <a:gd name="T45" fmla="*/ 415 h 855"/>
                <a:gd name="T46" fmla="*/ 795 w 2134"/>
                <a:gd name="T47" fmla="*/ 415 h 855"/>
                <a:gd name="T48" fmla="*/ 846 w 2134"/>
                <a:gd name="T49" fmla="*/ 415 h 855"/>
                <a:gd name="T50" fmla="*/ 897 w 2134"/>
                <a:gd name="T51" fmla="*/ 415 h 855"/>
                <a:gd name="T52" fmla="*/ 948 w 2134"/>
                <a:gd name="T53" fmla="*/ 415 h 855"/>
                <a:gd name="T54" fmla="*/ 1000 w 2134"/>
                <a:gd name="T55" fmla="*/ 415 h 855"/>
                <a:gd name="T56" fmla="*/ 1016 w 2134"/>
                <a:gd name="T57" fmla="*/ 388 h 855"/>
                <a:gd name="T58" fmla="*/ 1016 w 2134"/>
                <a:gd name="T59" fmla="*/ 336 h 855"/>
                <a:gd name="T60" fmla="*/ 1016 w 2134"/>
                <a:gd name="T61" fmla="*/ 282 h 855"/>
                <a:gd name="T62" fmla="*/ 1016 w 2134"/>
                <a:gd name="T63" fmla="*/ 229 h 855"/>
                <a:gd name="T64" fmla="*/ 1016 w 2134"/>
                <a:gd name="T65" fmla="*/ 177 h 855"/>
                <a:gd name="T66" fmla="*/ 1016 w 2134"/>
                <a:gd name="T67" fmla="*/ 124 h 855"/>
                <a:gd name="T68" fmla="*/ 1016 w 2134"/>
                <a:gd name="T69" fmla="*/ 71 h 855"/>
                <a:gd name="T70" fmla="*/ 1016 w 2134"/>
                <a:gd name="T71" fmla="*/ 17 h 855"/>
                <a:gd name="T72" fmla="*/ 981 w 2134"/>
                <a:gd name="T73" fmla="*/ 11 h 855"/>
                <a:gd name="T74" fmla="*/ 929 w 2134"/>
                <a:gd name="T75" fmla="*/ 11 h 855"/>
                <a:gd name="T76" fmla="*/ 878 w 2134"/>
                <a:gd name="T77" fmla="*/ 11 h 855"/>
                <a:gd name="T78" fmla="*/ 827 w 2134"/>
                <a:gd name="T79" fmla="*/ 11 h 855"/>
                <a:gd name="T80" fmla="*/ 775 w 2134"/>
                <a:gd name="T81" fmla="*/ 11 h 855"/>
                <a:gd name="T82" fmla="*/ 724 w 2134"/>
                <a:gd name="T83" fmla="*/ 11 h 855"/>
                <a:gd name="T84" fmla="*/ 673 w 2134"/>
                <a:gd name="T85" fmla="*/ 11 h 855"/>
                <a:gd name="T86" fmla="*/ 621 w 2134"/>
                <a:gd name="T87" fmla="*/ 11 h 855"/>
                <a:gd name="T88" fmla="*/ 570 w 2134"/>
                <a:gd name="T89" fmla="*/ 11 h 855"/>
                <a:gd name="T90" fmla="*/ 519 w 2134"/>
                <a:gd name="T91" fmla="*/ 11 h 855"/>
                <a:gd name="T92" fmla="*/ 467 w 2134"/>
                <a:gd name="T93" fmla="*/ 11 h 855"/>
                <a:gd name="T94" fmla="*/ 416 w 2134"/>
                <a:gd name="T95" fmla="*/ 11 h 855"/>
                <a:gd name="T96" fmla="*/ 365 w 2134"/>
                <a:gd name="T97" fmla="*/ 11 h 855"/>
                <a:gd name="T98" fmla="*/ 313 w 2134"/>
                <a:gd name="T99" fmla="*/ 11 h 855"/>
                <a:gd name="T100" fmla="*/ 262 w 2134"/>
                <a:gd name="T101" fmla="*/ 11 h 855"/>
                <a:gd name="T102" fmla="*/ 211 w 2134"/>
                <a:gd name="T103" fmla="*/ 11 h 855"/>
                <a:gd name="T104" fmla="*/ 159 w 2134"/>
                <a:gd name="T105" fmla="*/ 11 h 855"/>
                <a:gd name="T106" fmla="*/ 110 w 2134"/>
                <a:gd name="T107" fmla="*/ 11 h 855"/>
                <a:gd name="T108" fmla="*/ 56 w 2134"/>
                <a:gd name="T109" fmla="*/ 11 h 855"/>
                <a:gd name="T110" fmla="*/ 5 w 2134"/>
                <a:gd name="T111" fmla="*/ 11 h 8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34" h="855">
                  <a:moveTo>
                    <a:pt x="22" y="32"/>
                  </a:moveTo>
                  <a:lnTo>
                    <a:pt x="22" y="32"/>
                  </a:lnTo>
                  <a:cubicBezTo>
                    <a:pt x="22" y="38"/>
                    <a:pt x="17" y="43"/>
                    <a:pt x="11" y="43"/>
                  </a:cubicBezTo>
                  <a:cubicBezTo>
                    <a:pt x="5" y="43"/>
                    <a:pt x="0" y="38"/>
                    <a:pt x="0" y="32"/>
                  </a:cubicBezTo>
                  <a:cubicBezTo>
                    <a:pt x="0" y="27"/>
                    <a:pt x="5" y="22"/>
                    <a:pt x="11" y="22"/>
                  </a:cubicBezTo>
                  <a:cubicBezTo>
                    <a:pt x="17" y="22"/>
                    <a:pt x="22" y="27"/>
                    <a:pt x="22" y="32"/>
                  </a:cubicBezTo>
                  <a:close/>
                  <a:moveTo>
                    <a:pt x="22" y="139"/>
                  </a:moveTo>
                  <a:lnTo>
                    <a:pt x="22" y="139"/>
                  </a:lnTo>
                  <a:cubicBezTo>
                    <a:pt x="22" y="145"/>
                    <a:pt x="17" y="150"/>
                    <a:pt x="11" y="150"/>
                  </a:cubicBezTo>
                  <a:cubicBezTo>
                    <a:pt x="5" y="150"/>
                    <a:pt x="0" y="145"/>
                    <a:pt x="0" y="139"/>
                  </a:cubicBezTo>
                  <a:cubicBezTo>
                    <a:pt x="0" y="133"/>
                    <a:pt x="5" y="128"/>
                    <a:pt x="11" y="128"/>
                  </a:cubicBezTo>
                  <a:cubicBezTo>
                    <a:pt x="17" y="128"/>
                    <a:pt x="22" y="133"/>
                    <a:pt x="22" y="139"/>
                  </a:cubicBezTo>
                  <a:close/>
                  <a:moveTo>
                    <a:pt x="22" y="246"/>
                  </a:moveTo>
                  <a:lnTo>
                    <a:pt x="22" y="246"/>
                  </a:lnTo>
                  <a:cubicBezTo>
                    <a:pt x="22" y="252"/>
                    <a:pt x="17" y="257"/>
                    <a:pt x="11" y="257"/>
                  </a:cubicBezTo>
                  <a:cubicBezTo>
                    <a:pt x="5" y="257"/>
                    <a:pt x="0" y="252"/>
                    <a:pt x="0" y="246"/>
                  </a:cubicBezTo>
                  <a:cubicBezTo>
                    <a:pt x="0" y="240"/>
                    <a:pt x="5" y="235"/>
                    <a:pt x="11" y="235"/>
                  </a:cubicBezTo>
                  <a:cubicBezTo>
                    <a:pt x="17" y="235"/>
                    <a:pt x="22" y="240"/>
                    <a:pt x="22" y="246"/>
                  </a:cubicBezTo>
                  <a:close/>
                  <a:moveTo>
                    <a:pt x="22" y="353"/>
                  </a:moveTo>
                  <a:lnTo>
                    <a:pt x="22" y="353"/>
                  </a:lnTo>
                  <a:cubicBezTo>
                    <a:pt x="22" y="358"/>
                    <a:pt x="17" y="363"/>
                    <a:pt x="11" y="363"/>
                  </a:cubicBezTo>
                  <a:cubicBezTo>
                    <a:pt x="5" y="363"/>
                    <a:pt x="0" y="358"/>
                    <a:pt x="0" y="353"/>
                  </a:cubicBezTo>
                  <a:cubicBezTo>
                    <a:pt x="0" y="347"/>
                    <a:pt x="5" y="342"/>
                    <a:pt x="11" y="342"/>
                  </a:cubicBezTo>
                  <a:cubicBezTo>
                    <a:pt x="17" y="342"/>
                    <a:pt x="22" y="347"/>
                    <a:pt x="22" y="353"/>
                  </a:cubicBezTo>
                  <a:close/>
                  <a:moveTo>
                    <a:pt x="22" y="459"/>
                  </a:moveTo>
                  <a:lnTo>
                    <a:pt x="22" y="459"/>
                  </a:lnTo>
                  <a:cubicBezTo>
                    <a:pt x="22" y="465"/>
                    <a:pt x="17" y="470"/>
                    <a:pt x="11" y="470"/>
                  </a:cubicBezTo>
                  <a:cubicBezTo>
                    <a:pt x="5" y="470"/>
                    <a:pt x="0" y="465"/>
                    <a:pt x="0" y="459"/>
                  </a:cubicBezTo>
                  <a:cubicBezTo>
                    <a:pt x="0" y="453"/>
                    <a:pt x="5" y="449"/>
                    <a:pt x="11" y="449"/>
                  </a:cubicBezTo>
                  <a:cubicBezTo>
                    <a:pt x="17" y="449"/>
                    <a:pt x="22" y="453"/>
                    <a:pt x="22" y="459"/>
                  </a:cubicBezTo>
                  <a:close/>
                  <a:moveTo>
                    <a:pt x="22" y="566"/>
                  </a:moveTo>
                  <a:lnTo>
                    <a:pt x="22" y="566"/>
                  </a:lnTo>
                  <a:cubicBezTo>
                    <a:pt x="22" y="572"/>
                    <a:pt x="17" y="577"/>
                    <a:pt x="11" y="577"/>
                  </a:cubicBezTo>
                  <a:cubicBezTo>
                    <a:pt x="5" y="577"/>
                    <a:pt x="0" y="572"/>
                    <a:pt x="0" y="566"/>
                  </a:cubicBezTo>
                  <a:cubicBezTo>
                    <a:pt x="0" y="560"/>
                    <a:pt x="5" y="555"/>
                    <a:pt x="11" y="555"/>
                  </a:cubicBezTo>
                  <a:cubicBezTo>
                    <a:pt x="17" y="555"/>
                    <a:pt x="22" y="560"/>
                    <a:pt x="22" y="566"/>
                  </a:cubicBezTo>
                  <a:close/>
                  <a:moveTo>
                    <a:pt x="22" y="673"/>
                  </a:moveTo>
                  <a:lnTo>
                    <a:pt x="22" y="673"/>
                  </a:lnTo>
                  <a:cubicBezTo>
                    <a:pt x="22" y="679"/>
                    <a:pt x="17" y="683"/>
                    <a:pt x="11" y="683"/>
                  </a:cubicBezTo>
                  <a:cubicBezTo>
                    <a:pt x="5" y="683"/>
                    <a:pt x="0" y="679"/>
                    <a:pt x="0" y="673"/>
                  </a:cubicBezTo>
                  <a:cubicBezTo>
                    <a:pt x="0" y="667"/>
                    <a:pt x="5" y="662"/>
                    <a:pt x="11" y="662"/>
                  </a:cubicBezTo>
                  <a:cubicBezTo>
                    <a:pt x="17" y="662"/>
                    <a:pt x="22" y="667"/>
                    <a:pt x="22" y="673"/>
                  </a:cubicBezTo>
                  <a:close/>
                  <a:moveTo>
                    <a:pt x="22" y="779"/>
                  </a:moveTo>
                  <a:lnTo>
                    <a:pt x="22" y="779"/>
                  </a:lnTo>
                  <a:cubicBezTo>
                    <a:pt x="22" y="785"/>
                    <a:pt x="17" y="790"/>
                    <a:pt x="11" y="790"/>
                  </a:cubicBezTo>
                  <a:cubicBezTo>
                    <a:pt x="5" y="790"/>
                    <a:pt x="0" y="785"/>
                    <a:pt x="0" y="779"/>
                  </a:cubicBezTo>
                  <a:cubicBezTo>
                    <a:pt x="0" y="773"/>
                    <a:pt x="5" y="769"/>
                    <a:pt x="11" y="769"/>
                  </a:cubicBezTo>
                  <a:cubicBezTo>
                    <a:pt x="17" y="769"/>
                    <a:pt x="22" y="773"/>
                    <a:pt x="22" y="779"/>
                  </a:cubicBezTo>
                  <a:close/>
                  <a:moveTo>
                    <a:pt x="53" y="834"/>
                  </a:moveTo>
                  <a:lnTo>
                    <a:pt x="53" y="834"/>
                  </a:lnTo>
                  <a:cubicBezTo>
                    <a:pt x="59" y="834"/>
                    <a:pt x="63" y="838"/>
                    <a:pt x="63" y="844"/>
                  </a:cubicBezTo>
                  <a:cubicBezTo>
                    <a:pt x="63" y="850"/>
                    <a:pt x="59" y="855"/>
                    <a:pt x="53" y="855"/>
                  </a:cubicBezTo>
                  <a:cubicBezTo>
                    <a:pt x="47" y="855"/>
                    <a:pt x="42" y="850"/>
                    <a:pt x="42" y="844"/>
                  </a:cubicBezTo>
                  <a:cubicBezTo>
                    <a:pt x="42" y="838"/>
                    <a:pt x="47" y="834"/>
                    <a:pt x="53" y="834"/>
                  </a:cubicBezTo>
                  <a:close/>
                  <a:moveTo>
                    <a:pt x="159" y="834"/>
                  </a:moveTo>
                  <a:lnTo>
                    <a:pt x="160" y="834"/>
                  </a:lnTo>
                  <a:cubicBezTo>
                    <a:pt x="165" y="834"/>
                    <a:pt x="170" y="838"/>
                    <a:pt x="170" y="844"/>
                  </a:cubicBezTo>
                  <a:cubicBezTo>
                    <a:pt x="170" y="850"/>
                    <a:pt x="165" y="855"/>
                    <a:pt x="160" y="855"/>
                  </a:cubicBezTo>
                  <a:lnTo>
                    <a:pt x="159" y="855"/>
                  </a:lnTo>
                  <a:cubicBezTo>
                    <a:pt x="154" y="855"/>
                    <a:pt x="149" y="850"/>
                    <a:pt x="149" y="844"/>
                  </a:cubicBezTo>
                  <a:cubicBezTo>
                    <a:pt x="149" y="838"/>
                    <a:pt x="154" y="834"/>
                    <a:pt x="159" y="834"/>
                  </a:cubicBezTo>
                  <a:close/>
                  <a:moveTo>
                    <a:pt x="266" y="834"/>
                  </a:moveTo>
                  <a:lnTo>
                    <a:pt x="266" y="834"/>
                  </a:lnTo>
                  <a:cubicBezTo>
                    <a:pt x="272" y="834"/>
                    <a:pt x="277" y="838"/>
                    <a:pt x="277" y="844"/>
                  </a:cubicBezTo>
                  <a:cubicBezTo>
                    <a:pt x="277" y="850"/>
                    <a:pt x="272" y="855"/>
                    <a:pt x="266" y="855"/>
                  </a:cubicBezTo>
                  <a:cubicBezTo>
                    <a:pt x="260" y="855"/>
                    <a:pt x="256" y="850"/>
                    <a:pt x="256" y="844"/>
                  </a:cubicBezTo>
                  <a:cubicBezTo>
                    <a:pt x="256" y="838"/>
                    <a:pt x="260" y="834"/>
                    <a:pt x="266" y="834"/>
                  </a:cubicBezTo>
                  <a:close/>
                  <a:moveTo>
                    <a:pt x="373" y="834"/>
                  </a:moveTo>
                  <a:lnTo>
                    <a:pt x="373" y="834"/>
                  </a:lnTo>
                  <a:cubicBezTo>
                    <a:pt x="379" y="834"/>
                    <a:pt x="384" y="838"/>
                    <a:pt x="384" y="844"/>
                  </a:cubicBezTo>
                  <a:cubicBezTo>
                    <a:pt x="384" y="850"/>
                    <a:pt x="379" y="855"/>
                    <a:pt x="373" y="855"/>
                  </a:cubicBezTo>
                  <a:cubicBezTo>
                    <a:pt x="367" y="855"/>
                    <a:pt x="362" y="850"/>
                    <a:pt x="362" y="844"/>
                  </a:cubicBezTo>
                  <a:cubicBezTo>
                    <a:pt x="362" y="838"/>
                    <a:pt x="367" y="834"/>
                    <a:pt x="373" y="834"/>
                  </a:cubicBezTo>
                  <a:close/>
                  <a:moveTo>
                    <a:pt x="480" y="834"/>
                  </a:moveTo>
                  <a:lnTo>
                    <a:pt x="480" y="834"/>
                  </a:lnTo>
                  <a:cubicBezTo>
                    <a:pt x="485" y="834"/>
                    <a:pt x="490" y="838"/>
                    <a:pt x="490" y="844"/>
                  </a:cubicBezTo>
                  <a:cubicBezTo>
                    <a:pt x="490" y="850"/>
                    <a:pt x="485" y="855"/>
                    <a:pt x="480" y="855"/>
                  </a:cubicBezTo>
                  <a:cubicBezTo>
                    <a:pt x="474" y="855"/>
                    <a:pt x="469" y="850"/>
                    <a:pt x="469" y="844"/>
                  </a:cubicBezTo>
                  <a:cubicBezTo>
                    <a:pt x="469" y="838"/>
                    <a:pt x="474" y="834"/>
                    <a:pt x="480" y="834"/>
                  </a:cubicBezTo>
                  <a:close/>
                  <a:moveTo>
                    <a:pt x="586" y="834"/>
                  </a:moveTo>
                  <a:lnTo>
                    <a:pt x="586" y="834"/>
                  </a:lnTo>
                  <a:cubicBezTo>
                    <a:pt x="592" y="834"/>
                    <a:pt x="597" y="838"/>
                    <a:pt x="597" y="844"/>
                  </a:cubicBezTo>
                  <a:cubicBezTo>
                    <a:pt x="597" y="850"/>
                    <a:pt x="592" y="855"/>
                    <a:pt x="586" y="855"/>
                  </a:cubicBezTo>
                  <a:cubicBezTo>
                    <a:pt x="580" y="855"/>
                    <a:pt x="576" y="850"/>
                    <a:pt x="576" y="844"/>
                  </a:cubicBezTo>
                  <a:cubicBezTo>
                    <a:pt x="576" y="838"/>
                    <a:pt x="580" y="834"/>
                    <a:pt x="586" y="834"/>
                  </a:cubicBezTo>
                  <a:close/>
                  <a:moveTo>
                    <a:pt x="693" y="834"/>
                  </a:moveTo>
                  <a:lnTo>
                    <a:pt x="693" y="834"/>
                  </a:lnTo>
                  <a:cubicBezTo>
                    <a:pt x="699" y="834"/>
                    <a:pt x="704" y="838"/>
                    <a:pt x="704" y="844"/>
                  </a:cubicBezTo>
                  <a:cubicBezTo>
                    <a:pt x="704" y="850"/>
                    <a:pt x="699" y="855"/>
                    <a:pt x="693" y="855"/>
                  </a:cubicBezTo>
                  <a:cubicBezTo>
                    <a:pt x="687" y="855"/>
                    <a:pt x="682" y="850"/>
                    <a:pt x="682" y="844"/>
                  </a:cubicBezTo>
                  <a:cubicBezTo>
                    <a:pt x="682" y="838"/>
                    <a:pt x="687" y="834"/>
                    <a:pt x="693" y="834"/>
                  </a:cubicBezTo>
                  <a:close/>
                  <a:moveTo>
                    <a:pt x="800" y="834"/>
                  </a:moveTo>
                  <a:lnTo>
                    <a:pt x="800" y="834"/>
                  </a:lnTo>
                  <a:cubicBezTo>
                    <a:pt x="806" y="834"/>
                    <a:pt x="810" y="838"/>
                    <a:pt x="810" y="844"/>
                  </a:cubicBezTo>
                  <a:cubicBezTo>
                    <a:pt x="810" y="850"/>
                    <a:pt x="806" y="855"/>
                    <a:pt x="800" y="855"/>
                  </a:cubicBezTo>
                  <a:cubicBezTo>
                    <a:pt x="794" y="855"/>
                    <a:pt x="789" y="850"/>
                    <a:pt x="789" y="844"/>
                  </a:cubicBezTo>
                  <a:cubicBezTo>
                    <a:pt x="789" y="838"/>
                    <a:pt x="794" y="834"/>
                    <a:pt x="800" y="834"/>
                  </a:cubicBezTo>
                  <a:close/>
                  <a:moveTo>
                    <a:pt x="906" y="834"/>
                  </a:moveTo>
                  <a:lnTo>
                    <a:pt x="906" y="834"/>
                  </a:lnTo>
                  <a:cubicBezTo>
                    <a:pt x="912" y="834"/>
                    <a:pt x="917" y="838"/>
                    <a:pt x="917" y="844"/>
                  </a:cubicBezTo>
                  <a:cubicBezTo>
                    <a:pt x="917" y="850"/>
                    <a:pt x="912" y="855"/>
                    <a:pt x="906" y="855"/>
                  </a:cubicBezTo>
                  <a:cubicBezTo>
                    <a:pt x="900" y="855"/>
                    <a:pt x="896" y="850"/>
                    <a:pt x="896" y="844"/>
                  </a:cubicBezTo>
                  <a:cubicBezTo>
                    <a:pt x="896" y="838"/>
                    <a:pt x="900" y="834"/>
                    <a:pt x="906" y="834"/>
                  </a:cubicBezTo>
                  <a:close/>
                  <a:moveTo>
                    <a:pt x="1013" y="834"/>
                  </a:moveTo>
                  <a:lnTo>
                    <a:pt x="1013" y="834"/>
                  </a:lnTo>
                  <a:cubicBezTo>
                    <a:pt x="1019" y="834"/>
                    <a:pt x="1024" y="838"/>
                    <a:pt x="1024" y="844"/>
                  </a:cubicBezTo>
                  <a:cubicBezTo>
                    <a:pt x="1024" y="850"/>
                    <a:pt x="1019" y="855"/>
                    <a:pt x="1013" y="855"/>
                  </a:cubicBezTo>
                  <a:cubicBezTo>
                    <a:pt x="1007" y="855"/>
                    <a:pt x="1002" y="850"/>
                    <a:pt x="1002" y="844"/>
                  </a:cubicBezTo>
                  <a:cubicBezTo>
                    <a:pt x="1002" y="838"/>
                    <a:pt x="1007" y="834"/>
                    <a:pt x="1013" y="834"/>
                  </a:cubicBezTo>
                  <a:close/>
                  <a:moveTo>
                    <a:pt x="1120" y="834"/>
                  </a:moveTo>
                  <a:lnTo>
                    <a:pt x="1120" y="834"/>
                  </a:lnTo>
                  <a:cubicBezTo>
                    <a:pt x="1126" y="834"/>
                    <a:pt x="1130" y="838"/>
                    <a:pt x="1130" y="844"/>
                  </a:cubicBezTo>
                  <a:cubicBezTo>
                    <a:pt x="1130" y="850"/>
                    <a:pt x="1126" y="855"/>
                    <a:pt x="1120" y="855"/>
                  </a:cubicBezTo>
                  <a:cubicBezTo>
                    <a:pt x="1114" y="855"/>
                    <a:pt x="1109" y="850"/>
                    <a:pt x="1109" y="844"/>
                  </a:cubicBezTo>
                  <a:cubicBezTo>
                    <a:pt x="1109" y="838"/>
                    <a:pt x="1114" y="834"/>
                    <a:pt x="1120" y="834"/>
                  </a:cubicBezTo>
                  <a:close/>
                  <a:moveTo>
                    <a:pt x="1226" y="834"/>
                  </a:moveTo>
                  <a:lnTo>
                    <a:pt x="1226" y="834"/>
                  </a:lnTo>
                  <a:cubicBezTo>
                    <a:pt x="1232" y="834"/>
                    <a:pt x="1237" y="838"/>
                    <a:pt x="1237" y="844"/>
                  </a:cubicBezTo>
                  <a:cubicBezTo>
                    <a:pt x="1237" y="850"/>
                    <a:pt x="1232" y="855"/>
                    <a:pt x="1226" y="855"/>
                  </a:cubicBezTo>
                  <a:cubicBezTo>
                    <a:pt x="1220" y="855"/>
                    <a:pt x="1216" y="850"/>
                    <a:pt x="1216" y="844"/>
                  </a:cubicBezTo>
                  <a:cubicBezTo>
                    <a:pt x="1216" y="838"/>
                    <a:pt x="1220" y="834"/>
                    <a:pt x="1226" y="834"/>
                  </a:cubicBezTo>
                  <a:close/>
                  <a:moveTo>
                    <a:pt x="1333" y="834"/>
                  </a:moveTo>
                  <a:lnTo>
                    <a:pt x="1333" y="834"/>
                  </a:lnTo>
                  <a:cubicBezTo>
                    <a:pt x="1339" y="834"/>
                    <a:pt x="1344" y="838"/>
                    <a:pt x="1344" y="844"/>
                  </a:cubicBezTo>
                  <a:cubicBezTo>
                    <a:pt x="1344" y="850"/>
                    <a:pt x="1339" y="855"/>
                    <a:pt x="1333" y="855"/>
                  </a:cubicBezTo>
                  <a:cubicBezTo>
                    <a:pt x="1327" y="855"/>
                    <a:pt x="1322" y="850"/>
                    <a:pt x="1322" y="844"/>
                  </a:cubicBezTo>
                  <a:cubicBezTo>
                    <a:pt x="1322" y="838"/>
                    <a:pt x="1327" y="834"/>
                    <a:pt x="1333" y="834"/>
                  </a:cubicBezTo>
                  <a:close/>
                  <a:moveTo>
                    <a:pt x="1440" y="834"/>
                  </a:moveTo>
                  <a:lnTo>
                    <a:pt x="1440" y="834"/>
                  </a:lnTo>
                  <a:cubicBezTo>
                    <a:pt x="1446" y="834"/>
                    <a:pt x="1450" y="838"/>
                    <a:pt x="1450" y="844"/>
                  </a:cubicBezTo>
                  <a:cubicBezTo>
                    <a:pt x="1450" y="850"/>
                    <a:pt x="1446" y="855"/>
                    <a:pt x="1440" y="855"/>
                  </a:cubicBezTo>
                  <a:cubicBezTo>
                    <a:pt x="1434" y="855"/>
                    <a:pt x="1429" y="850"/>
                    <a:pt x="1429" y="844"/>
                  </a:cubicBezTo>
                  <a:cubicBezTo>
                    <a:pt x="1429" y="838"/>
                    <a:pt x="1434" y="834"/>
                    <a:pt x="1440" y="834"/>
                  </a:cubicBezTo>
                  <a:close/>
                  <a:moveTo>
                    <a:pt x="1546" y="834"/>
                  </a:moveTo>
                  <a:lnTo>
                    <a:pt x="1546" y="834"/>
                  </a:lnTo>
                  <a:cubicBezTo>
                    <a:pt x="1552" y="834"/>
                    <a:pt x="1557" y="838"/>
                    <a:pt x="1557" y="844"/>
                  </a:cubicBezTo>
                  <a:cubicBezTo>
                    <a:pt x="1557" y="850"/>
                    <a:pt x="1552" y="855"/>
                    <a:pt x="1546" y="855"/>
                  </a:cubicBezTo>
                  <a:cubicBezTo>
                    <a:pt x="1541" y="855"/>
                    <a:pt x="1536" y="850"/>
                    <a:pt x="1536" y="844"/>
                  </a:cubicBezTo>
                  <a:cubicBezTo>
                    <a:pt x="1536" y="838"/>
                    <a:pt x="1541" y="834"/>
                    <a:pt x="1546" y="834"/>
                  </a:cubicBezTo>
                  <a:close/>
                  <a:moveTo>
                    <a:pt x="1653" y="834"/>
                  </a:moveTo>
                  <a:lnTo>
                    <a:pt x="1653" y="834"/>
                  </a:lnTo>
                  <a:cubicBezTo>
                    <a:pt x="1659" y="834"/>
                    <a:pt x="1664" y="838"/>
                    <a:pt x="1664" y="844"/>
                  </a:cubicBezTo>
                  <a:cubicBezTo>
                    <a:pt x="1664" y="850"/>
                    <a:pt x="1659" y="855"/>
                    <a:pt x="1653" y="855"/>
                  </a:cubicBezTo>
                  <a:cubicBezTo>
                    <a:pt x="1647" y="855"/>
                    <a:pt x="1642" y="850"/>
                    <a:pt x="1642" y="844"/>
                  </a:cubicBezTo>
                  <a:cubicBezTo>
                    <a:pt x="1642" y="838"/>
                    <a:pt x="1647" y="834"/>
                    <a:pt x="1653" y="834"/>
                  </a:cubicBezTo>
                  <a:close/>
                  <a:moveTo>
                    <a:pt x="1760" y="834"/>
                  </a:moveTo>
                  <a:lnTo>
                    <a:pt x="1760" y="834"/>
                  </a:lnTo>
                  <a:cubicBezTo>
                    <a:pt x="1766" y="834"/>
                    <a:pt x="1771" y="838"/>
                    <a:pt x="1771" y="844"/>
                  </a:cubicBezTo>
                  <a:cubicBezTo>
                    <a:pt x="1771" y="850"/>
                    <a:pt x="1766" y="855"/>
                    <a:pt x="1760" y="855"/>
                  </a:cubicBezTo>
                  <a:cubicBezTo>
                    <a:pt x="1754" y="855"/>
                    <a:pt x="1749" y="850"/>
                    <a:pt x="1749" y="844"/>
                  </a:cubicBezTo>
                  <a:cubicBezTo>
                    <a:pt x="1749" y="838"/>
                    <a:pt x="1754" y="834"/>
                    <a:pt x="1760" y="834"/>
                  </a:cubicBezTo>
                  <a:close/>
                  <a:moveTo>
                    <a:pt x="1867" y="834"/>
                  </a:moveTo>
                  <a:lnTo>
                    <a:pt x="1867" y="834"/>
                  </a:lnTo>
                  <a:cubicBezTo>
                    <a:pt x="1872" y="834"/>
                    <a:pt x="1877" y="838"/>
                    <a:pt x="1877" y="844"/>
                  </a:cubicBezTo>
                  <a:cubicBezTo>
                    <a:pt x="1877" y="850"/>
                    <a:pt x="1872" y="855"/>
                    <a:pt x="1867" y="855"/>
                  </a:cubicBezTo>
                  <a:cubicBezTo>
                    <a:pt x="1861" y="855"/>
                    <a:pt x="1856" y="850"/>
                    <a:pt x="1856" y="844"/>
                  </a:cubicBezTo>
                  <a:cubicBezTo>
                    <a:pt x="1856" y="838"/>
                    <a:pt x="1861" y="834"/>
                    <a:pt x="1867" y="834"/>
                  </a:cubicBezTo>
                  <a:close/>
                  <a:moveTo>
                    <a:pt x="1973" y="834"/>
                  </a:moveTo>
                  <a:lnTo>
                    <a:pt x="1973" y="834"/>
                  </a:lnTo>
                  <a:cubicBezTo>
                    <a:pt x="1979" y="834"/>
                    <a:pt x="1984" y="838"/>
                    <a:pt x="1984" y="844"/>
                  </a:cubicBezTo>
                  <a:cubicBezTo>
                    <a:pt x="1984" y="850"/>
                    <a:pt x="1979" y="855"/>
                    <a:pt x="1973" y="855"/>
                  </a:cubicBezTo>
                  <a:cubicBezTo>
                    <a:pt x="1967" y="855"/>
                    <a:pt x="1963" y="850"/>
                    <a:pt x="1963" y="844"/>
                  </a:cubicBezTo>
                  <a:cubicBezTo>
                    <a:pt x="1963" y="838"/>
                    <a:pt x="1967" y="834"/>
                    <a:pt x="1973" y="834"/>
                  </a:cubicBezTo>
                  <a:close/>
                  <a:moveTo>
                    <a:pt x="2080" y="834"/>
                  </a:moveTo>
                  <a:lnTo>
                    <a:pt x="2080" y="834"/>
                  </a:lnTo>
                  <a:cubicBezTo>
                    <a:pt x="2086" y="834"/>
                    <a:pt x="2091" y="838"/>
                    <a:pt x="2091" y="844"/>
                  </a:cubicBezTo>
                  <a:cubicBezTo>
                    <a:pt x="2091" y="850"/>
                    <a:pt x="2086" y="855"/>
                    <a:pt x="2080" y="855"/>
                  </a:cubicBezTo>
                  <a:cubicBezTo>
                    <a:pt x="2074" y="855"/>
                    <a:pt x="2069" y="850"/>
                    <a:pt x="2069" y="844"/>
                  </a:cubicBezTo>
                  <a:cubicBezTo>
                    <a:pt x="2069" y="838"/>
                    <a:pt x="2074" y="834"/>
                    <a:pt x="2080" y="834"/>
                  </a:cubicBezTo>
                  <a:close/>
                  <a:moveTo>
                    <a:pt x="2112" y="781"/>
                  </a:moveTo>
                  <a:lnTo>
                    <a:pt x="2112" y="781"/>
                  </a:lnTo>
                  <a:cubicBezTo>
                    <a:pt x="2112" y="775"/>
                    <a:pt x="2117" y="770"/>
                    <a:pt x="2123" y="770"/>
                  </a:cubicBezTo>
                  <a:cubicBezTo>
                    <a:pt x="2129" y="770"/>
                    <a:pt x="2134" y="775"/>
                    <a:pt x="2134" y="781"/>
                  </a:cubicBezTo>
                  <a:cubicBezTo>
                    <a:pt x="2134" y="787"/>
                    <a:pt x="2129" y="792"/>
                    <a:pt x="2123" y="792"/>
                  </a:cubicBezTo>
                  <a:cubicBezTo>
                    <a:pt x="2117" y="792"/>
                    <a:pt x="2112" y="787"/>
                    <a:pt x="2112" y="781"/>
                  </a:cubicBezTo>
                  <a:close/>
                  <a:moveTo>
                    <a:pt x="2112" y="674"/>
                  </a:moveTo>
                  <a:lnTo>
                    <a:pt x="2112" y="674"/>
                  </a:lnTo>
                  <a:cubicBezTo>
                    <a:pt x="2112" y="668"/>
                    <a:pt x="2117" y="663"/>
                    <a:pt x="2123" y="663"/>
                  </a:cubicBezTo>
                  <a:cubicBezTo>
                    <a:pt x="2129" y="663"/>
                    <a:pt x="2134" y="668"/>
                    <a:pt x="2134" y="674"/>
                  </a:cubicBezTo>
                  <a:cubicBezTo>
                    <a:pt x="2134" y="680"/>
                    <a:pt x="2129" y="685"/>
                    <a:pt x="2123" y="685"/>
                  </a:cubicBezTo>
                  <a:cubicBezTo>
                    <a:pt x="2117" y="685"/>
                    <a:pt x="2112" y="680"/>
                    <a:pt x="2112" y="674"/>
                  </a:cubicBezTo>
                  <a:close/>
                  <a:moveTo>
                    <a:pt x="2112" y="567"/>
                  </a:moveTo>
                  <a:lnTo>
                    <a:pt x="2112" y="567"/>
                  </a:lnTo>
                  <a:cubicBezTo>
                    <a:pt x="2112" y="562"/>
                    <a:pt x="2117" y="557"/>
                    <a:pt x="2123" y="557"/>
                  </a:cubicBezTo>
                  <a:cubicBezTo>
                    <a:pt x="2129" y="557"/>
                    <a:pt x="2134" y="562"/>
                    <a:pt x="2134" y="567"/>
                  </a:cubicBezTo>
                  <a:cubicBezTo>
                    <a:pt x="2134" y="573"/>
                    <a:pt x="2129" y="578"/>
                    <a:pt x="2123" y="578"/>
                  </a:cubicBezTo>
                  <a:cubicBezTo>
                    <a:pt x="2117" y="578"/>
                    <a:pt x="2112" y="573"/>
                    <a:pt x="2112" y="567"/>
                  </a:cubicBezTo>
                  <a:close/>
                  <a:moveTo>
                    <a:pt x="2112" y="461"/>
                  </a:moveTo>
                  <a:lnTo>
                    <a:pt x="2112" y="461"/>
                  </a:lnTo>
                  <a:cubicBezTo>
                    <a:pt x="2112" y="455"/>
                    <a:pt x="2117" y="450"/>
                    <a:pt x="2123" y="450"/>
                  </a:cubicBezTo>
                  <a:cubicBezTo>
                    <a:pt x="2129" y="450"/>
                    <a:pt x="2134" y="455"/>
                    <a:pt x="2134" y="461"/>
                  </a:cubicBezTo>
                  <a:cubicBezTo>
                    <a:pt x="2134" y="467"/>
                    <a:pt x="2129" y="471"/>
                    <a:pt x="2123" y="471"/>
                  </a:cubicBezTo>
                  <a:cubicBezTo>
                    <a:pt x="2117" y="471"/>
                    <a:pt x="2112" y="467"/>
                    <a:pt x="2112" y="461"/>
                  </a:cubicBezTo>
                  <a:close/>
                  <a:moveTo>
                    <a:pt x="2112" y="354"/>
                  </a:moveTo>
                  <a:lnTo>
                    <a:pt x="2112" y="354"/>
                  </a:lnTo>
                  <a:cubicBezTo>
                    <a:pt x="2112" y="348"/>
                    <a:pt x="2117" y="343"/>
                    <a:pt x="2123" y="343"/>
                  </a:cubicBezTo>
                  <a:cubicBezTo>
                    <a:pt x="2129" y="343"/>
                    <a:pt x="2134" y="348"/>
                    <a:pt x="2134" y="354"/>
                  </a:cubicBezTo>
                  <a:cubicBezTo>
                    <a:pt x="2134" y="360"/>
                    <a:pt x="2129" y="365"/>
                    <a:pt x="2123" y="365"/>
                  </a:cubicBezTo>
                  <a:cubicBezTo>
                    <a:pt x="2117" y="365"/>
                    <a:pt x="2112" y="360"/>
                    <a:pt x="2112" y="354"/>
                  </a:cubicBezTo>
                  <a:close/>
                  <a:moveTo>
                    <a:pt x="2112" y="247"/>
                  </a:moveTo>
                  <a:lnTo>
                    <a:pt x="2112" y="247"/>
                  </a:lnTo>
                  <a:cubicBezTo>
                    <a:pt x="2112" y="242"/>
                    <a:pt x="2117" y="237"/>
                    <a:pt x="2123" y="237"/>
                  </a:cubicBezTo>
                  <a:cubicBezTo>
                    <a:pt x="2129" y="237"/>
                    <a:pt x="2134" y="242"/>
                    <a:pt x="2134" y="247"/>
                  </a:cubicBezTo>
                  <a:cubicBezTo>
                    <a:pt x="2134" y="253"/>
                    <a:pt x="2129" y="258"/>
                    <a:pt x="2123" y="258"/>
                  </a:cubicBezTo>
                  <a:cubicBezTo>
                    <a:pt x="2117" y="258"/>
                    <a:pt x="2112" y="253"/>
                    <a:pt x="2112" y="247"/>
                  </a:cubicBezTo>
                  <a:close/>
                  <a:moveTo>
                    <a:pt x="2112" y="141"/>
                  </a:moveTo>
                  <a:lnTo>
                    <a:pt x="2112" y="141"/>
                  </a:lnTo>
                  <a:cubicBezTo>
                    <a:pt x="2112" y="135"/>
                    <a:pt x="2117" y="130"/>
                    <a:pt x="2123" y="130"/>
                  </a:cubicBezTo>
                  <a:cubicBezTo>
                    <a:pt x="2129" y="130"/>
                    <a:pt x="2134" y="135"/>
                    <a:pt x="2134" y="141"/>
                  </a:cubicBezTo>
                  <a:cubicBezTo>
                    <a:pt x="2134" y="147"/>
                    <a:pt x="2129" y="151"/>
                    <a:pt x="2123" y="151"/>
                  </a:cubicBezTo>
                  <a:cubicBezTo>
                    <a:pt x="2117" y="151"/>
                    <a:pt x="2112" y="147"/>
                    <a:pt x="2112" y="141"/>
                  </a:cubicBezTo>
                  <a:close/>
                  <a:moveTo>
                    <a:pt x="2112" y="34"/>
                  </a:moveTo>
                  <a:lnTo>
                    <a:pt x="2112" y="34"/>
                  </a:lnTo>
                  <a:cubicBezTo>
                    <a:pt x="2112" y="28"/>
                    <a:pt x="2117" y="23"/>
                    <a:pt x="2123" y="23"/>
                  </a:cubicBezTo>
                  <a:cubicBezTo>
                    <a:pt x="2129" y="23"/>
                    <a:pt x="2134" y="28"/>
                    <a:pt x="2134" y="34"/>
                  </a:cubicBezTo>
                  <a:cubicBezTo>
                    <a:pt x="2134" y="40"/>
                    <a:pt x="2129" y="45"/>
                    <a:pt x="2123" y="45"/>
                  </a:cubicBezTo>
                  <a:cubicBezTo>
                    <a:pt x="2117" y="45"/>
                    <a:pt x="2112" y="40"/>
                    <a:pt x="2112" y="34"/>
                  </a:cubicBezTo>
                  <a:close/>
                  <a:moveTo>
                    <a:pt x="2039" y="22"/>
                  </a:moveTo>
                  <a:lnTo>
                    <a:pt x="2039" y="22"/>
                  </a:lnTo>
                  <a:cubicBezTo>
                    <a:pt x="2033" y="22"/>
                    <a:pt x="2029" y="17"/>
                    <a:pt x="2029" y="11"/>
                  </a:cubicBezTo>
                  <a:cubicBezTo>
                    <a:pt x="2029" y="5"/>
                    <a:pt x="2033" y="0"/>
                    <a:pt x="2039" y="0"/>
                  </a:cubicBezTo>
                  <a:cubicBezTo>
                    <a:pt x="2045" y="0"/>
                    <a:pt x="2050" y="5"/>
                    <a:pt x="2050" y="11"/>
                  </a:cubicBezTo>
                  <a:cubicBezTo>
                    <a:pt x="2050" y="17"/>
                    <a:pt x="2045" y="22"/>
                    <a:pt x="2039" y="22"/>
                  </a:cubicBezTo>
                  <a:close/>
                  <a:moveTo>
                    <a:pt x="1933" y="22"/>
                  </a:moveTo>
                  <a:lnTo>
                    <a:pt x="1933" y="22"/>
                  </a:lnTo>
                  <a:cubicBezTo>
                    <a:pt x="1927" y="22"/>
                    <a:pt x="1922" y="17"/>
                    <a:pt x="1922" y="11"/>
                  </a:cubicBezTo>
                  <a:cubicBezTo>
                    <a:pt x="1922" y="5"/>
                    <a:pt x="1927" y="0"/>
                    <a:pt x="1933" y="0"/>
                  </a:cubicBezTo>
                  <a:cubicBezTo>
                    <a:pt x="1939" y="0"/>
                    <a:pt x="1943" y="5"/>
                    <a:pt x="1943" y="11"/>
                  </a:cubicBezTo>
                  <a:cubicBezTo>
                    <a:pt x="1943" y="17"/>
                    <a:pt x="1939" y="22"/>
                    <a:pt x="1933" y="22"/>
                  </a:cubicBezTo>
                  <a:close/>
                  <a:moveTo>
                    <a:pt x="1826" y="22"/>
                  </a:moveTo>
                  <a:lnTo>
                    <a:pt x="1826" y="22"/>
                  </a:lnTo>
                  <a:cubicBezTo>
                    <a:pt x="1820" y="22"/>
                    <a:pt x="1815" y="17"/>
                    <a:pt x="1815" y="11"/>
                  </a:cubicBezTo>
                  <a:cubicBezTo>
                    <a:pt x="1815" y="5"/>
                    <a:pt x="1820" y="0"/>
                    <a:pt x="1826" y="0"/>
                  </a:cubicBezTo>
                  <a:cubicBezTo>
                    <a:pt x="1832" y="0"/>
                    <a:pt x="1837" y="5"/>
                    <a:pt x="1837" y="11"/>
                  </a:cubicBezTo>
                  <a:cubicBezTo>
                    <a:pt x="1837" y="17"/>
                    <a:pt x="1832" y="22"/>
                    <a:pt x="1826" y="22"/>
                  </a:cubicBezTo>
                  <a:close/>
                  <a:moveTo>
                    <a:pt x="1719" y="22"/>
                  </a:moveTo>
                  <a:lnTo>
                    <a:pt x="1719" y="22"/>
                  </a:lnTo>
                  <a:cubicBezTo>
                    <a:pt x="1713" y="22"/>
                    <a:pt x="1709" y="17"/>
                    <a:pt x="1709" y="11"/>
                  </a:cubicBezTo>
                  <a:cubicBezTo>
                    <a:pt x="1709" y="5"/>
                    <a:pt x="1713" y="0"/>
                    <a:pt x="1719" y="0"/>
                  </a:cubicBezTo>
                  <a:cubicBezTo>
                    <a:pt x="1725" y="0"/>
                    <a:pt x="1730" y="5"/>
                    <a:pt x="1730" y="11"/>
                  </a:cubicBezTo>
                  <a:cubicBezTo>
                    <a:pt x="1730" y="17"/>
                    <a:pt x="1725" y="22"/>
                    <a:pt x="1719" y="22"/>
                  </a:cubicBezTo>
                  <a:close/>
                  <a:moveTo>
                    <a:pt x="1613" y="22"/>
                  </a:moveTo>
                  <a:lnTo>
                    <a:pt x="1613" y="22"/>
                  </a:lnTo>
                  <a:cubicBezTo>
                    <a:pt x="1607" y="22"/>
                    <a:pt x="1602" y="17"/>
                    <a:pt x="1602" y="11"/>
                  </a:cubicBezTo>
                  <a:cubicBezTo>
                    <a:pt x="1602" y="5"/>
                    <a:pt x="1607" y="0"/>
                    <a:pt x="1613" y="0"/>
                  </a:cubicBezTo>
                  <a:cubicBezTo>
                    <a:pt x="1619" y="0"/>
                    <a:pt x="1623" y="5"/>
                    <a:pt x="1623" y="11"/>
                  </a:cubicBezTo>
                  <a:cubicBezTo>
                    <a:pt x="1623" y="17"/>
                    <a:pt x="1619" y="22"/>
                    <a:pt x="1613" y="22"/>
                  </a:cubicBezTo>
                  <a:close/>
                  <a:moveTo>
                    <a:pt x="1506" y="22"/>
                  </a:moveTo>
                  <a:lnTo>
                    <a:pt x="1506" y="22"/>
                  </a:lnTo>
                  <a:cubicBezTo>
                    <a:pt x="1500" y="22"/>
                    <a:pt x="1495" y="17"/>
                    <a:pt x="1495" y="11"/>
                  </a:cubicBezTo>
                  <a:cubicBezTo>
                    <a:pt x="1495" y="5"/>
                    <a:pt x="1500" y="0"/>
                    <a:pt x="1506" y="0"/>
                  </a:cubicBezTo>
                  <a:cubicBezTo>
                    <a:pt x="1512" y="0"/>
                    <a:pt x="1517" y="5"/>
                    <a:pt x="1517" y="11"/>
                  </a:cubicBezTo>
                  <a:cubicBezTo>
                    <a:pt x="1517" y="17"/>
                    <a:pt x="1512" y="22"/>
                    <a:pt x="1506" y="22"/>
                  </a:cubicBezTo>
                  <a:close/>
                  <a:moveTo>
                    <a:pt x="1399" y="22"/>
                  </a:moveTo>
                  <a:lnTo>
                    <a:pt x="1399" y="22"/>
                  </a:lnTo>
                  <a:cubicBezTo>
                    <a:pt x="1393" y="22"/>
                    <a:pt x="1389" y="17"/>
                    <a:pt x="1389" y="11"/>
                  </a:cubicBezTo>
                  <a:cubicBezTo>
                    <a:pt x="1389" y="5"/>
                    <a:pt x="1393" y="0"/>
                    <a:pt x="1399" y="0"/>
                  </a:cubicBezTo>
                  <a:cubicBezTo>
                    <a:pt x="1405" y="0"/>
                    <a:pt x="1410" y="5"/>
                    <a:pt x="1410" y="11"/>
                  </a:cubicBezTo>
                  <a:cubicBezTo>
                    <a:pt x="1410" y="17"/>
                    <a:pt x="1405" y="22"/>
                    <a:pt x="1399" y="22"/>
                  </a:cubicBezTo>
                  <a:close/>
                  <a:moveTo>
                    <a:pt x="1293" y="22"/>
                  </a:moveTo>
                  <a:lnTo>
                    <a:pt x="1293" y="22"/>
                  </a:lnTo>
                  <a:cubicBezTo>
                    <a:pt x="1287" y="22"/>
                    <a:pt x="1282" y="17"/>
                    <a:pt x="1282" y="11"/>
                  </a:cubicBezTo>
                  <a:cubicBezTo>
                    <a:pt x="1282" y="5"/>
                    <a:pt x="1287" y="0"/>
                    <a:pt x="1293" y="0"/>
                  </a:cubicBezTo>
                  <a:cubicBezTo>
                    <a:pt x="1298" y="0"/>
                    <a:pt x="1303" y="5"/>
                    <a:pt x="1303" y="11"/>
                  </a:cubicBezTo>
                  <a:cubicBezTo>
                    <a:pt x="1303" y="17"/>
                    <a:pt x="1298" y="22"/>
                    <a:pt x="1293" y="22"/>
                  </a:cubicBezTo>
                  <a:close/>
                  <a:moveTo>
                    <a:pt x="1186" y="22"/>
                  </a:moveTo>
                  <a:lnTo>
                    <a:pt x="1186" y="22"/>
                  </a:lnTo>
                  <a:cubicBezTo>
                    <a:pt x="1180" y="22"/>
                    <a:pt x="1175" y="17"/>
                    <a:pt x="1175" y="11"/>
                  </a:cubicBezTo>
                  <a:cubicBezTo>
                    <a:pt x="1175" y="5"/>
                    <a:pt x="1180" y="0"/>
                    <a:pt x="1186" y="0"/>
                  </a:cubicBezTo>
                  <a:cubicBezTo>
                    <a:pt x="1192" y="0"/>
                    <a:pt x="1197" y="5"/>
                    <a:pt x="1197" y="11"/>
                  </a:cubicBezTo>
                  <a:cubicBezTo>
                    <a:pt x="1197" y="17"/>
                    <a:pt x="1192" y="22"/>
                    <a:pt x="1186" y="22"/>
                  </a:cubicBezTo>
                  <a:close/>
                  <a:moveTo>
                    <a:pt x="1079" y="22"/>
                  </a:moveTo>
                  <a:lnTo>
                    <a:pt x="1079" y="22"/>
                  </a:lnTo>
                  <a:cubicBezTo>
                    <a:pt x="1073" y="22"/>
                    <a:pt x="1068" y="17"/>
                    <a:pt x="1068" y="11"/>
                  </a:cubicBezTo>
                  <a:cubicBezTo>
                    <a:pt x="1068" y="5"/>
                    <a:pt x="1073" y="0"/>
                    <a:pt x="1079" y="0"/>
                  </a:cubicBezTo>
                  <a:cubicBezTo>
                    <a:pt x="1085" y="0"/>
                    <a:pt x="1090" y="5"/>
                    <a:pt x="1090" y="11"/>
                  </a:cubicBezTo>
                  <a:cubicBezTo>
                    <a:pt x="1090" y="17"/>
                    <a:pt x="1085" y="22"/>
                    <a:pt x="1079" y="22"/>
                  </a:cubicBezTo>
                  <a:close/>
                  <a:moveTo>
                    <a:pt x="972" y="22"/>
                  </a:moveTo>
                  <a:lnTo>
                    <a:pt x="972" y="22"/>
                  </a:lnTo>
                  <a:cubicBezTo>
                    <a:pt x="967" y="22"/>
                    <a:pt x="962" y="17"/>
                    <a:pt x="962" y="11"/>
                  </a:cubicBezTo>
                  <a:cubicBezTo>
                    <a:pt x="962" y="5"/>
                    <a:pt x="967" y="0"/>
                    <a:pt x="972" y="0"/>
                  </a:cubicBezTo>
                  <a:cubicBezTo>
                    <a:pt x="978" y="0"/>
                    <a:pt x="983" y="5"/>
                    <a:pt x="983" y="11"/>
                  </a:cubicBezTo>
                  <a:cubicBezTo>
                    <a:pt x="983" y="17"/>
                    <a:pt x="978" y="22"/>
                    <a:pt x="972" y="22"/>
                  </a:cubicBezTo>
                  <a:close/>
                  <a:moveTo>
                    <a:pt x="866" y="22"/>
                  </a:moveTo>
                  <a:lnTo>
                    <a:pt x="866" y="22"/>
                  </a:lnTo>
                  <a:cubicBezTo>
                    <a:pt x="860" y="22"/>
                    <a:pt x="855" y="17"/>
                    <a:pt x="855" y="11"/>
                  </a:cubicBezTo>
                  <a:cubicBezTo>
                    <a:pt x="855" y="5"/>
                    <a:pt x="860" y="0"/>
                    <a:pt x="866" y="0"/>
                  </a:cubicBezTo>
                  <a:cubicBezTo>
                    <a:pt x="872" y="0"/>
                    <a:pt x="876" y="5"/>
                    <a:pt x="876" y="11"/>
                  </a:cubicBezTo>
                  <a:cubicBezTo>
                    <a:pt x="876" y="17"/>
                    <a:pt x="872" y="22"/>
                    <a:pt x="866" y="22"/>
                  </a:cubicBezTo>
                  <a:close/>
                  <a:moveTo>
                    <a:pt x="759" y="22"/>
                  </a:moveTo>
                  <a:lnTo>
                    <a:pt x="759" y="22"/>
                  </a:lnTo>
                  <a:cubicBezTo>
                    <a:pt x="753" y="22"/>
                    <a:pt x="748" y="17"/>
                    <a:pt x="748" y="11"/>
                  </a:cubicBezTo>
                  <a:cubicBezTo>
                    <a:pt x="748" y="5"/>
                    <a:pt x="753" y="0"/>
                    <a:pt x="759" y="0"/>
                  </a:cubicBezTo>
                  <a:cubicBezTo>
                    <a:pt x="765" y="0"/>
                    <a:pt x="770" y="5"/>
                    <a:pt x="770" y="11"/>
                  </a:cubicBezTo>
                  <a:cubicBezTo>
                    <a:pt x="770" y="17"/>
                    <a:pt x="765" y="22"/>
                    <a:pt x="759" y="22"/>
                  </a:cubicBezTo>
                  <a:close/>
                  <a:moveTo>
                    <a:pt x="652" y="22"/>
                  </a:moveTo>
                  <a:lnTo>
                    <a:pt x="652" y="22"/>
                  </a:lnTo>
                  <a:cubicBezTo>
                    <a:pt x="647" y="22"/>
                    <a:pt x="642" y="17"/>
                    <a:pt x="642" y="11"/>
                  </a:cubicBezTo>
                  <a:cubicBezTo>
                    <a:pt x="642" y="5"/>
                    <a:pt x="647" y="0"/>
                    <a:pt x="652" y="0"/>
                  </a:cubicBezTo>
                  <a:cubicBezTo>
                    <a:pt x="658" y="0"/>
                    <a:pt x="663" y="5"/>
                    <a:pt x="663" y="11"/>
                  </a:cubicBezTo>
                  <a:cubicBezTo>
                    <a:pt x="663" y="17"/>
                    <a:pt x="658" y="22"/>
                    <a:pt x="652" y="22"/>
                  </a:cubicBezTo>
                  <a:close/>
                  <a:moveTo>
                    <a:pt x="546" y="22"/>
                  </a:moveTo>
                  <a:lnTo>
                    <a:pt x="546" y="22"/>
                  </a:lnTo>
                  <a:cubicBezTo>
                    <a:pt x="540" y="22"/>
                    <a:pt x="535" y="17"/>
                    <a:pt x="535" y="11"/>
                  </a:cubicBezTo>
                  <a:cubicBezTo>
                    <a:pt x="535" y="5"/>
                    <a:pt x="540" y="0"/>
                    <a:pt x="546" y="0"/>
                  </a:cubicBezTo>
                  <a:cubicBezTo>
                    <a:pt x="552" y="0"/>
                    <a:pt x="556" y="5"/>
                    <a:pt x="556" y="11"/>
                  </a:cubicBezTo>
                  <a:cubicBezTo>
                    <a:pt x="556" y="17"/>
                    <a:pt x="552" y="22"/>
                    <a:pt x="546" y="22"/>
                  </a:cubicBezTo>
                  <a:close/>
                  <a:moveTo>
                    <a:pt x="439" y="22"/>
                  </a:moveTo>
                  <a:lnTo>
                    <a:pt x="439" y="22"/>
                  </a:lnTo>
                  <a:cubicBezTo>
                    <a:pt x="433" y="22"/>
                    <a:pt x="428" y="17"/>
                    <a:pt x="428" y="11"/>
                  </a:cubicBezTo>
                  <a:cubicBezTo>
                    <a:pt x="428" y="5"/>
                    <a:pt x="433" y="0"/>
                    <a:pt x="439" y="0"/>
                  </a:cubicBezTo>
                  <a:cubicBezTo>
                    <a:pt x="445" y="0"/>
                    <a:pt x="450" y="5"/>
                    <a:pt x="450" y="11"/>
                  </a:cubicBezTo>
                  <a:cubicBezTo>
                    <a:pt x="450" y="17"/>
                    <a:pt x="445" y="22"/>
                    <a:pt x="439" y="22"/>
                  </a:cubicBezTo>
                  <a:close/>
                  <a:moveTo>
                    <a:pt x="332" y="22"/>
                  </a:moveTo>
                  <a:lnTo>
                    <a:pt x="332" y="22"/>
                  </a:lnTo>
                  <a:cubicBezTo>
                    <a:pt x="326" y="22"/>
                    <a:pt x="322" y="17"/>
                    <a:pt x="322" y="11"/>
                  </a:cubicBezTo>
                  <a:cubicBezTo>
                    <a:pt x="322" y="5"/>
                    <a:pt x="326" y="0"/>
                    <a:pt x="332" y="0"/>
                  </a:cubicBezTo>
                  <a:cubicBezTo>
                    <a:pt x="338" y="0"/>
                    <a:pt x="343" y="5"/>
                    <a:pt x="343" y="11"/>
                  </a:cubicBezTo>
                  <a:cubicBezTo>
                    <a:pt x="343" y="17"/>
                    <a:pt x="338" y="22"/>
                    <a:pt x="332" y="22"/>
                  </a:cubicBezTo>
                  <a:close/>
                  <a:moveTo>
                    <a:pt x="226" y="22"/>
                  </a:moveTo>
                  <a:lnTo>
                    <a:pt x="226" y="22"/>
                  </a:lnTo>
                  <a:cubicBezTo>
                    <a:pt x="220" y="22"/>
                    <a:pt x="215" y="17"/>
                    <a:pt x="215" y="11"/>
                  </a:cubicBezTo>
                  <a:cubicBezTo>
                    <a:pt x="215" y="5"/>
                    <a:pt x="220" y="0"/>
                    <a:pt x="226" y="0"/>
                  </a:cubicBezTo>
                  <a:cubicBezTo>
                    <a:pt x="232" y="0"/>
                    <a:pt x="236" y="5"/>
                    <a:pt x="236" y="11"/>
                  </a:cubicBezTo>
                  <a:cubicBezTo>
                    <a:pt x="236" y="17"/>
                    <a:pt x="232" y="22"/>
                    <a:pt x="226" y="22"/>
                  </a:cubicBezTo>
                  <a:close/>
                  <a:moveTo>
                    <a:pt x="119" y="22"/>
                  </a:moveTo>
                  <a:lnTo>
                    <a:pt x="119" y="22"/>
                  </a:lnTo>
                  <a:cubicBezTo>
                    <a:pt x="113" y="22"/>
                    <a:pt x="108" y="17"/>
                    <a:pt x="108" y="11"/>
                  </a:cubicBezTo>
                  <a:cubicBezTo>
                    <a:pt x="108" y="5"/>
                    <a:pt x="113" y="0"/>
                    <a:pt x="119" y="0"/>
                  </a:cubicBezTo>
                  <a:cubicBezTo>
                    <a:pt x="125" y="0"/>
                    <a:pt x="130" y="5"/>
                    <a:pt x="130" y="11"/>
                  </a:cubicBezTo>
                  <a:cubicBezTo>
                    <a:pt x="130" y="17"/>
                    <a:pt x="125" y="22"/>
                    <a:pt x="119" y="22"/>
                  </a:cubicBezTo>
                  <a:close/>
                  <a:moveTo>
                    <a:pt x="12" y="22"/>
                  </a:moveTo>
                  <a:lnTo>
                    <a:pt x="12" y="22"/>
                  </a:lnTo>
                  <a:cubicBezTo>
                    <a:pt x="6" y="22"/>
                    <a:pt x="2" y="17"/>
                    <a:pt x="2" y="11"/>
                  </a:cubicBezTo>
                  <a:cubicBezTo>
                    <a:pt x="2" y="5"/>
                    <a:pt x="6" y="0"/>
                    <a:pt x="12" y="0"/>
                  </a:cubicBezTo>
                  <a:cubicBezTo>
                    <a:pt x="18" y="0"/>
                    <a:pt x="23" y="5"/>
                    <a:pt x="23" y="11"/>
                  </a:cubicBezTo>
                  <a:cubicBezTo>
                    <a:pt x="23" y="17"/>
                    <a:pt x="18" y="22"/>
                    <a:pt x="12" y="22"/>
                  </a:cubicBezTo>
                  <a:close/>
                </a:path>
              </a:pathLst>
            </a:custGeom>
            <a:solidFill>
              <a:srgbClr val="00BCF2"/>
            </a:solidFill>
            <a:ln w="1588" cap="flat">
              <a:solidFill>
                <a:srgbClr val="00BCF2"/>
              </a:solidFill>
              <a:prstDash val="solid"/>
              <a:round/>
              <a:headEnd/>
              <a:tailEnd/>
            </a:ln>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en-US" sz="1377"/>
            </a:p>
          </p:txBody>
        </p:sp>
        <p:sp>
          <p:nvSpPr>
            <p:cNvPr id="20" name="Rectangle 19"/>
            <p:cNvSpPr>
              <a:spLocks noChangeArrowheads="1"/>
            </p:cNvSpPr>
            <p:nvPr/>
          </p:nvSpPr>
          <p:spPr bwMode="auto">
            <a:xfrm>
              <a:off x="5574" y="1905"/>
              <a:ext cx="86" cy="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r>
                <a:rPr lang="en-US" altLang="en-US" sz="1200">
                  <a:latin typeface="Segoe UI" panose="020B0502040204020203" pitchFamily="34" charset="0"/>
                  <a:cs typeface="Segoe UI" panose="020B0502040204020203" pitchFamily="34" charset="0"/>
                </a:rPr>
                <a:t>VNet</a:t>
              </a:r>
            </a:p>
          </p:txBody>
        </p:sp>
      </p:grpSp>
      <p:grpSp>
        <p:nvGrpSpPr>
          <p:cNvPr id="21" name="Group 20"/>
          <p:cNvGrpSpPr/>
          <p:nvPr/>
        </p:nvGrpSpPr>
        <p:grpSpPr>
          <a:xfrm>
            <a:off x="2669380" y="5194860"/>
            <a:ext cx="1069524" cy="682893"/>
            <a:chOff x="6084916" y="4400143"/>
            <a:chExt cx="1300398" cy="1155405"/>
          </a:xfrm>
        </p:grpSpPr>
        <p:pic>
          <p:nvPicPr>
            <p:cNvPr id="22" name="Picture 9"/>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94672" y="5028498"/>
              <a:ext cx="398462" cy="527050"/>
            </a:xfrm>
            <a:prstGeom prst="rect">
              <a:avLst/>
            </a:prstGeom>
            <a:noFill/>
            <a:ln>
              <a:noFill/>
            </a:ln>
          </p:spPr>
        </p:pic>
        <p:sp>
          <p:nvSpPr>
            <p:cNvPr id="23" name="TextBox 22"/>
            <p:cNvSpPr txBox="1"/>
            <p:nvPr/>
          </p:nvSpPr>
          <p:spPr>
            <a:xfrm>
              <a:off x="6084916" y="4400143"/>
              <a:ext cx="1300398" cy="634212"/>
            </a:xfrm>
            <a:prstGeom prst="rect">
              <a:avLst/>
            </a:prstGeom>
            <a:noFill/>
          </p:spPr>
          <p:txBody>
            <a:bodyPr wrap="none" rtlCol="0">
              <a:spAutoFit/>
            </a:bodyPr>
            <a:lstStyle/>
            <a:p>
              <a:r>
                <a:rPr lang="en-US" sz="1836"/>
                <a:t>Public </a:t>
              </a:r>
              <a:r>
                <a:rPr lang="en-US"/>
                <a:t>IP</a:t>
              </a:r>
              <a:endParaRPr lang="en-US" sz="1836"/>
            </a:p>
          </p:txBody>
        </p:sp>
      </p:grpSp>
      <p:cxnSp>
        <p:nvCxnSpPr>
          <p:cNvPr id="24" name="Straight Arrow Connector 23"/>
          <p:cNvCxnSpPr/>
          <p:nvPr/>
        </p:nvCxnSpPr>
        <p:spPr>
          <a:xfrm>
            <a:off x="3212424" y="4722855"/>
            <a:ext cx="5818" cy="481644"/>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2746783" y="3821828"/>
            <a:ext cx="819673" cy="792499"/>
            <a:chOff x="6919258" y="4209595"/>
            <a:chExt cx="1071656" cy="1036129"/>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12478" y="4669479"/>
              <a:ext cx="778436" cy="576245"/>
            </a:xfrm>
            <a:prstGeom prst="rect">
              <a:avLst/>
            </a:prstGeom>
          </p:spPr>
        </p:pic>
        <p:sp>
          <p:nvSpPr>
            <p:cNvPr id="27" name="TextBox 26"/>
            <p:cNvSpPr txBox="1"/>
            <p:nvPr/>
          </p:nvSpPr>
          <p:spPr>
            <a:xfrm>
              <a:off x="6919258" y="4209595"/>
              <a:ext cx="744427" cy="490081"/>
            </a:xfrm>
            <a:prstGeom prst="rect">
              <a:avLst/>
            </a:prstGeom>
            <a:noFill/>
          </p:spPr>
          <p:txBody>
            <a:bodyPr wrap="none" rtlCol="0">
              <a:spAutoFit/>
            </a:bodyPr>
            <a:lstStyle/>
            <a:p>
              <a:r>
                <a:rPr lang="en-US"/>
                <a:t>NIC</a:t>
              </a:r>
              <a:endParaRPr lang="en-US" sz="1836"/>
            </a:p>
          </p:txBody>
        </p:sp>
      </p:grpSp>
      <p:cxnSp>
        <p:nvCxnSpPr>
          <p:cNvPr id="28" name="Straight Arrow Connector 27"/>
          <p:cNvCxnSpPr/>
          <p:nvPr/>
        </p:nvCxnSpPr>
        <p:spPr>
          <a:xfrm>
            <a:off x="3648395" y="3711845"/>
            <a:ext cx="0" cy="436328"/>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4194401" y="3020607"/>
            <a:ext cx="1631234" cy="825408"/>
            <a:chOff x="7165720" y="3276805"/>
            <a:chExt cx="1032266" cy="747678"/>
          </a:xfrm>
        </p:grpSpPr>
        <p:pic>
          <p:nvPicPr>
            <p:cNvPr id="31" name="Picture 30"/>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31"/>
            <p:cNvSpPr txBox="1"/>
            <p:nvPr/>
          </p:nvSpPr>
          <p:spPr>
            <a:xfrm>
              <a:off x="7793220" y="3276805"/>
              <a:ext cx="404766" cy="334551"/>
            </a:xfrm>
            <a:prstGeom prst="rect">
              <a:avLst/>
            </a:prstGeom>
            <a:noFill/>
          </p:spPr>
          <p:txBody>
            <a:bodyPr wrap="square" rtlCol="0">
              <a:spAutoFit/>
            </a:bodyPr>
            <a:lstStyle/>
            <a:p>
              <a:r>
                <a:rPr lang="en-US"/>
                <a:t>VM</a:t>
              </a:r>
            </a:p>
          </p:txBody>
        </p:sp>
      </p:grpSp>
      <p:grpSp>
        <p:nvGrpSpPr>
          <p:cNvPr id="33" name="Group 32"/>
          <p:cNvGrpSpPr/>
          <p:nvPr/>
        </p:nvGrpSpPr>
        <p:grpSpPr>
          <a:xfrm>
            <a:off x="4194402" y="5238746"/>
            <a:ext cx="1069524" cy="682893"/>
            <a:chOff x="6084916" y="4400143"/>
            <a:chExt cx="1300398" cy="1155405"/>
          </a:xfrm>
        </p:grpSpPr>
        <p:pic>
          <p:nvPicPr>
            <p:cNvPr id="34" name="Picture 9"/>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94672" y="5028498"/>
              <a:ext cx="398462" cy="527050"/>
            </a:xfrm>
            <a:prstGeom prst="rect">
              <a:avLst/>
            </a:prstGeom>
            <a:noFill/>
            <a:ln>
              <a:noFill/>
            </a:ln>
          </p:spPr>
        </p:pic>
        <p:sp>
          <p:nvSpPr>
            <p:cNvPr id="35" name="TextBox 34"/>
            <p:cNvSpPr txBox="1"/>
            <p:nvPr/>
          </p:nvSpPr>
          <p:spPr>
            <a:xfrm>
              <a:off x="6084916" y="4400143"/>
              <a:ext cx="1300398" cy="634212"/>
            </a:xfrm>
            <a:prstGeom prst="rect">
              <a:avLst/>
            </a:prstGeom>
            <a:noFill/>
          </p:spPr>
          <p:txBody>
            <a:bodyPr wrap="none" rtlCol="0">
              <a:spAutoFit/>
            </a:bodyPr>
            <a:lstStyle/>
            <a:p>
              <a:r>
                <a:rPr lang="en-US"/>
                <a:t>Public</a:t>
              </a:r>
              <a:r>
                <a:rPr lang="en-US" sz="1836"/>
                <a:t> IP</a:t>
              </a:r>
            </a:p>
          </p:txBody>
        </p:sp>
      </p:grpSp>
      <p:cxnSp>
        <p:nvCxnSpPr>
          <p:cNvPr id="36" name="Straight Arrow Connector 35"/>
          <p:cNvCxnSpPr/>
          <p:nvPr/>
        </p:nvCxnSpPr>
        <p:spPr>
          <a:xfrm>
            <a:off x="4687235" y="4766525"/>
            <a:ext cx="5818" cy="481644"/>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4271805" y="3865715"/>
            <a:ext cx="819673" cy="792499"/>
            <a:chOff x="6919258" y="4209595"/>
            <a:chExt cx="1071656" cy="1036129"/>
          </a:xfrm>
        </p:grpSpPr>
        <p:pic>
          <p:nvPicPr>
            <p:cNvPr id="38" name="Picture 3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12478" y="4669479"/>
              <a:ext cx="778436" cy="576245"/>
            </a:xfrm>
            <a:prstGeom prst="rect">
              <a:avLst/>
            </a:prstGeom>
          </p:spPr>
        </p:pic>
        <p:sp>
          <p:nvSpPr>
            <p:cNvPr id="39" name="TextBox 38"/>
            <p:cNvSpPr txBox="1"/>
            <p:nvPr/>
          </p:nvSpPr>
          <p:spPr>
            <a:xfrm>
              <a:off x="6919258" y="4209595"/>
              <a:ext cx="744427" cy="490081"/>
            </a:xfrm>
            <a:prstGeom prst="rect">
              <a:avLst/>
            </a:prstGeom>
            <a:noFill/>
          </p:spPr>
          <p:txBody>
            <a:bodyPr wrap="none" rtlCol="0">
              <a:spAutoFit/>
            </a:bodyPr>
            <a:lstStyle/>
            <a:p>
              <a:r>
                <a:rPr lang="en-US"/>
                <a:t>NIC</a:t>
              </a:r>
            </a:p>
          </p:txBody>
        </p:sp>
      </p:grpSp>
      <p:cxnSp>
        <p:nvCxnSpPr>
          <p:cNvPr id="40" name="Straight Arrow Connector 39"/>
          <p:cNvCxnSpPr/>
          <p:nvPr/>
        </p:nvCxnSpPr>
        <p:spPr>
          <a:xfrm>
            <a:off x="5173416" y="3755732"/>
            <a:ext cx="0" cy="436328"/>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5740954" y="3079982"/>
            <a:ext cx="1631234" cy="825408"/>
            <a:chOff x="7165720" y="3276805"/>
            <a:chExt cx="1032266" cy="747678"/>
          </a:xfrm>
        </p:grpSpPr>
        <p:pic>
          <p:nvPicPr>
            <p:cNvPr id="42" name="Picture 41"/>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TextBox 42"/>
            <p:cNvSpPr txBox="1"/>
            <p:nvPr/>
          </p:nvSpPr>
          <p:spPr>
            <a:xfrm>
              <a:off x="7793220" y="3276805"/>
              <a:ext cx="404766" cy="334551"/>
            </a:xfrm>
            <a:prstGeom prst="rect">
              <a:avLst/>
            </a:prstGeom>
            <a:noFill/>
          </p:spPr>
          <p:txBody>
            <a:bodyPr wrap="square" rtlCol="0">
              <a:spAutoFit/>
            </a:bodyPr>
            <a:lstStyle/>
            <a:p>
              <a:r>
                <a:rPr lang="en-US"/>
                <a:t>VM</a:t>
              </a:r>
            </a:p>
          </p:txBody>
        </p:sp>
      </p:grpSp>
      <p:grpSp>
        <p:nvGrpSpPr>
          <p:cNvPr id="44" name="Group 43"/>
          <p:cNvGrpSpPr/>
          <p:nvPr/>
        </p:nvGrpSpPr>
        <p:grpSpPr>
          <a:xfrm>
            <a:off x="5740954" y="5204858"/>
            <a:ext cx="1069524" cy="682893"/>
            <a:chOff x="6084916" y="4400143"/>
            <a:chExt cx="1300398" cy="1155405"/>
          </a:xfrm>
        </p:grpSpPr>
        <p:pic>
          <p:nvPicPr>
            <p:cNvPr id="45" name="Picture 9"/>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94672" y="5028498"/>
              <a:ext cx="398462" cy="527050"/>
            </a:xfrm>
            <a:prstGeom prst="rect">
              <a:avLst/>
            </a:prstGeom>
            <a:noFill/>
            <a:ln>
              <a:noFill/>
            </a:ln>
          </p:spPr>
        </p:pic>
        <p:sp>
          <p:nvSpPr>
            <p:cNvPr id="46" name="TextBox 45"/>
            <p:cNvSpPr txBox="1"/>
            <p:nvPr/>
          </p:nvSpPr>
          <p:spPr>
            <a:xfrm>
              <a:off x="6084916" y="4400143"/>
              <a:ext cx="1300398" cy="634212"/>
            </a:xfrm>
            <a:prstGeom prst="rect">
              <a:avLst/>
            </a:prstGeom>
            <a:noFill/>
          </p:spPr>
          <p:txBody>
            <a:bodyPr wrap="none" rtlCol="0">
              <a:spAutoFit/>
            </a:bodyPr>
            <a:lstStyle/>
            <a:p>
              <a:r>
                <a:rPr lang="en-US"/>
                <a:t>Public</a:t>
              </a:r>
              <a:r>
                <a:rPr lang="en-US" sz="1836"/>
                <a:t> IP</a:t>
              </a:r>
            </a:p>
          </p:txBody>
        </p:sp>
      </p:grpSp>
      <p:cxnSp>
        <p:nvCxnSpPr>
          <p:cNvPr id="47" name="Straight Arrow Connector 46"/>
          <p:cNvCxnSpPr/>
          <p:nvPr/>
        </p:nvCxnSpPr>
        <p:spPr>
          <a:xfrm>
            <a:off x="6283999" y="4732853"/>
            <a:ext cx="5818" cy="481644"/>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5879981" y="3873487"/>
            <a:ext cx="819673" cy="792499"/>
            <a:chOff x="6919258" y="4209595"/>
            <a:chExt cx="1071656" cy="1036129"/>
          </a:xfrm>
        </p:grpSpPr>
        <p:pic>
          <p:nvPicPr>
            <p:cNvPr id="49" name="Picture 4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12478" y="4669479"/>
              <a:ext cx="778436" cy="576245"/>
            </a:xfrm>
            <a:prstGeom prst="rect">
              <a:avLst/>
            </a:prstGeom>
          </p:spPr>
        </p:pic>
        <p:sp>
          <p:nvSpPr>
            <p:cNvPr id="50" name="TextBox 49"/>
            <p:cNvSpPr txBox="1"/>
            <p:nvPr/>
          </p:nvSpPr>
          <p:spPr>
            <a:xfrm>
              <a:off x="6919258" y="4209595"/>
              <a:ext cx="744427" cy="490081"/>
            </a:xfrm>
            <a:prstGeom prst="rect">
              <a:avLst/>
            </a:prstGeom>
            <a:noFill/>
          </p:spPr>
          <p:txBody>
            <a:bodyPr wrap="none" rtlCol="0">
              <a:spAutoFit/>
            </a:bodyPr>
            <a:lstStyle/>
            <a:p>
              <a:r>
                <a:rPr lang="en-US" sz="1836"/>
                <a:t>NIC</a:t>
              </a:r>
            </a:p>
          </p:txBody>
        </p:sp>
      </p:grpSp>
      <p:cxnSp>
        <p:nvCxnSpPr>
          <p:cNvPr id="51" name="Straight Arrow Connector 50"/>
          <p:cNvCxnSpPr/>
          <p:nvPr/>
        </p:nvCxnSpPr>
        <p:spPr>
          <a:xfrm>
            <a:off x="6719969" y="3721843"/>
            <a:ext cx="0" cy="436328"/>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6964971" y="3279134"/>
            <a:ext cx="857177" cy="844700"/>
          </a:xfrm>
          <a:prstGeom prst="rect">
            <a:avLst/>
          </a:prstGeom>
          <a:noFill/>
        </p:spPr>
        <p:txBody>
          <a:bodyPr wrap="square" lIns="137148" tIns="109719" rIns="137148" bIns="109719" rtlCol="0">
            <a:spAutoFit/>
          </a:bodyPr>
          <a:lstStyle/>
          <a:p>
            <a:pPr>
              <a:lnSpc>
                <a:spcPct val="90000"/>
              </a:lnSpc>
              <a:spcAft>
                <a:spcPts val="450"/>
              </a:spcAft>
            </a:pPr>
            <a:r>
              <a:rPr lang="en-US" sz="4499"/>
              <a:t>…</a:t>
            </a:r>
          </a:p>
        </p:txBody>
      </p:sp>
      <p:grpSp>
        <p:nvGrpSpPr>
          <p:cNvPr id="53" name="Group 52"/>
          <p:cNvGrpSpPr/>
          <p:nvPr/>
        </p:nvGrpSpPr>
        <p:grpSpPr>
          <a:xfrm>
            <a:off x="8053858" y="2804829"/>
            <a:ext cx="1531453" cy="2044484"/>
            <a:chOff x="7021426" y="2789655"/>
            <a:chExt cx="1874816" cy="1296510"/>
          </a:xfrm>
        </p:grpSpPr>
        <p:sp>
          <p:nvSpPr>
            <p:cNvPr id="54" name="Rounded Rectangle 82"/>
            <p:cNvSpPr/>
            <p:nvPr/>
          </p:nvSpPr>
          <p:spPr bwMode="auto">
            <a:xfrm>
              <a:off x="7021426" y="2789655"/>
              <a:ext cx="1874816" cy="1296510"/>
            </a:xfrm>
            <a:prstGeom prst="roundRect">
              <a:avLst/>
            </a:prstGeom>
            <a:noFill/>
            <a:ln w="25400">
              <a:solidFill>
                <a:schemeClr val="accent6"/>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a:solidFill>
                  <a:schemeClr val="tx1"/>
                </a:solidFill>
                <a:ea typeface="Segoe UI" pitchFamily="34" charset="0"/>
                <a:cs typeface="Segoe UI" pitchFamily="34" charset="0"/>
              </a:endParaRPr>
            </a:p>
          </p:txBody>
        </p:sp>
        <p:sp>
          <p:nvSpPr>
            <p:cNvPr id="55" name="TextBox 54"/>
            <p:cNvSpPr txBox="1"/>
            <p:nvPr/>
          </p:nvSpPr>
          <p:spPr>
            <a:xfrm>
              <a:off x="7882824" y="2798606"/>
              <a:ext cx="822642" cy="178017"/>
            </a:xfrm>
            <a:prstGeom prst="rect">
              <a:avLst/>
            </a:prstGeom>
            <a:noFill/>
          </p:spPr>
          <p:txBody>
            <a:bodyPr wrap="none" rtlCol="0">
              <a:spAutoFit/>
            </a:bodyPr>
            <a:lstStyle/>
            <a:p>
              <a:r>
                <a:rPr lang="en-US" sz="1200"/>
                <a:t>Subnet</a:t>
              </a:r>
            </a:p>
          </p:txBody>
        </p:sp>
      </p:grpSp>
      <p:grpSp>
        <p:nvGrpSpPr>
          <p:cNvPr id="56" name="Group 55"/>
          <p:cNvGrpSpPr/>
          <p:nvPr/>
        </p:nvGrpSpPr>
        <p:grpSpPr>
          <a:xfrm>
            <a:off x="8807966" y="4849313"/>
            <a:ext cx="981551" cy="1013909"/>
            <a:chOff x="10150511" y="4293902"/>
            <a:chExt cx="1250154" cy="1221361"/>
          </a:xfrm>
        </p:grpSpPr>
        <p:pic>
          <p:nvPicPr>
            <p:cNvPr id="57" name="Picture 56"/>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407372" y="4760264"/>
              <a:ext cx="754999" cy="75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TextBox 57"/>
            <p:cNvSpPr txBox="1"/>
            <p:nvPr/>
          </p:nvSpPr>
          <p:spPr>
            <a:xfrm>
              <a:off x="10150511" y="4293902"/>
              <a:ext cx="1250154" cy="451542"/>
            </a:xfrm>
            <a:prstGeom prst="rect">
              <a:avLst/>
            </a:prstGeom>
            <a:noFill/>
          </p:spPr>
          <p:txBody>
            <a:bodyPr wrap="none" rtlCol="0">
              <a:spAutoFit/>
            </a:bodyPr>
            <a:lstStyle/>
            <a:p>
              <a:r>
                <a:rPr lang="en-US"/>
                <a:t>Storage</a:t>
              </a:r>
              <a:endParaRPr lang="en-US" sz="1836"/>
            </a:p>
          </p:txBody>
        </p:sp>
      </p:grpSp>
      <p:sp>
        <p:nvSpPr>
          <p:cNvPr id="59" name="Rectangle 58"/>
          <p:cNvSpPr/>
          <p:nvPr/>
        </p:nvSpPr>
        <p:spPr>
          <a:xfrm>
            <a:off x="366168" y="6408447"/>
            <a:ext cx="7908675" cy="300082"/>
          </a:xfrm>
          <a:prstGeom prst="rect">
            <a:avLst/>
          </a:prstGeom>
        </p:spPr>
        <p:txBody>
          <a:bodyPr wrap="square">
            <a:spAutoFit/>
          </a:bodyPr>
          <a:lstStyle/>
          <a:p>
            <a:r>
              <a:rPr lang="en-US" sz="1350" noProof="1"/>
              <a:t>https://docs.microsoft.com/en-us/azure/azure-resource-manager/resource-group-create-multiple</a:t>
            </a:r>
          </a:p>
        </p:txBody>
      </p:sp>
    </p:spTree>
    <p:extLst>
      <p:ext uri="{BB962C8B-B14F-4D97-AF65-F5344CB8AC3E}">
        <p14:creationId xmlns:p14="http://schemas.microsoft.com/office/powerpoint/2010/main" val="322185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9"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VM Scale Sets in Azure Resource Manager</a:t>
            </a:r>
          </a:p>
        </p:txBody>
      </p:sp>
      <p:grpSp>
        <p:nvGrpSpPr>
          <p:cNvPr id="85" name="Group 84"/>
          <p:cNvGrpSpPr/>
          <p:nvPr/>
        </p:nvGrpSpPr>
        <p:grpSpPr>
          <a:xfrm>
            <a:off x="804037" y="1463013"/>
            <a:ext cx="7355036" cy="4320506"/>
            <a:chOff x="6581595" y="1441329"/>
            <a:chExt cx="4310600" cy="4401481"/>
          </a:xfrm>
        </p:grpSpPr>
        <p:sp>
          <p:nvSpPr>
            <p:cNvPr id="86" name="Rounded Rectangle 85"/>
            <p:cNvSpPr/>
            <p:nvPr/>
          </p:nvSpPr>
          <p:spPr bwMode="auto">
            <a:xfrm>
              <a:off x="6581595" y="1830772"/>
              <a:ext cx="4310600" cy="4012038"/>
            </a:xfrm>
            <a:prstGeom prst="roundRect">
              <a:avLst/>
            </a:prstGeom>
            <a:noFill/>
            <a:ln>
              <a:solidFill>
                <a:srgbClr val="0078D7"/>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87396" tIns="87396" rIns="32777" bIns="32777" rtlCol="0" anchor="t" anchorCtr="0"/>
            <a:lstStyle/>
            <a:p>
              <a:pPr algn="ctr" defTabSz="891135">
                <a:defRPr/>
              </a:pPr>
              <a:endParaRPr lang="en-US" sz="1530" kern="0" spc="-9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TextBox 86"/>
            <p:cNvSpPr txBox="1"/>
            <p:nvPr/>
          </p:nvSpPr>
          <p:spPr>
            <a:xfrm>
              <a:off x="6674924" y="1441329"/>
              <a:ext cx="1119129" cy="395685"/>
            </a:xfrm>
            <a:prstGeom prst="rect">
              <a:avLst/>
            </a:prstGeom>
            <a:noFill/>
          </p:spPr>
          <p:txBody>
            <a:bodyPr wrap="none" rtlCol="0">
              <a:spAutoFit/>
            </a:bodyPr>
            <a:lstStyle/>
            <a:p>
              <a:pPr defTabSz="874063">
                <a:defRPr/>
              </a:pPr>
              <a:r>
                <a:rPr lang="en-US" sz="1875" kern="0" dirty="0">
                  <a:solidFill>
                    <a:srgbClr val="0078D7"/>
                  </a:solidFill>
                  <a:latin typeface="Segoe UI"/>
                </a:rPr>
                <a:t>Resource Group</a:t>
              </a:r>
            </a:p>
          </p:txBody>
        </p:sp>
      </p:grpSp>
      <p:grpSp>
        <p:nvGrpSpPr>
          <p:cNvPr id="88" name="Group 87"/>
          <p:cNvGrpSpPr/>
          <p:nvPr/>
        </p:nvGrpSpPr>
        <p:grpSpPr>
          <a:xfrm>
            <a:off x="1259479" y="2449092"/>
            <a:ext cx="6498138" cy="2834569"/>
            <a:chOff x="7021426" y="2789655"/>
            <a:chExt cx="1874816" cy="1296510"/>
          </a:xfrm>
        </p:grpSpPr>
        <p:sp>
          <p:nvSpPr>
            <p:cNvPr id="89" name="Rounded Rectangle 88"/>
            <p:cNvSpPr/>
            <p:nvPr/>
          </p:nvSpPr>
          <p:spPr bwMode="auto">
            <a:xfrm>
              <a:off x="7021426" y="2789655"/>
              <a:ext cx="1874816" cy="1296510"/>
            </a:xfrm>
            <a:prstGeom prst="roundRect">
              <a:avLst/>
            </a:prstGeom>
            <a:noFill/>
            <a:ln>
              <a:solidFill>
                <a:srgbClr val="DFB274"/>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87396" tIns="87396" rIns="32777" bIns="32777" rtlCol="0" anchor="t" anchorCtr="0"/>
            <a:lstStyle/>
            <a:p>
              <a:pPr algn="ctr" defTabSz="891135">
                <a:defRPr/>
              </a:pPr>
              <a:endParaRPr lang="en-US" sz="1530" kern="0" spc="-9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TextBox 89"/>
            <p:cNvSpPr txBox="1"/>
            <p:nvPr/>
          </p:nvSpPr>
          <p:spPr>
            <a:xfrm>
              <a:off x="7882823" y="2798606"/>
              <a:ext cx="208559" cy="137249"/>
            </a:xfrm>
            <a:prstGeom prst="rect">
              <a:avLst/>
            </a:prstGeom>
            <a:noFill/>
            <a:ln>
              <a:noFill/>
            </a:ln>
          </p:spPr>
          <p:txBody>
            <a:bodyPr wrap="none" rtlCol="0">
              <a:spAutoFit/>
            </a:bodyPr>
            <a:lstStyle/>
            <a:p>
              <a:pPr defTabSz="874063">
                <a:defRPr/>
              </a:pPr>
              <a:r>
                <a:rPr lang="en-US" sz="1312" kern="0" dirty="0">
                  <a:solidFill>
                    <a:srgbClr val="FF8C00">
                      <a:lumMod val="60000"/>
                      <a:lumOff val="40000"/>
                    </a:srgbClr>
                  </a:solidFill>
                  <a:latin typeface="Segoe UI"/>
                </a:rPr>
                <a:t>Subnet</a:t>
              </a:r>
            </a:p>
          </p:txBody>
        </p:sp>
      </p:grpSp>
      <p:grpSp>
        <p:nvGrpSpPr>
          <p:cNvPr id="91" name="Group 90"/>
          <p:cNvGrpSpPr/>
          <p:nvPr/>
        </p:nvGrpSpPr>
        <p:grpSpPr>
          <a:xfrm>
            <a:off x="3591723" y="3931110"/>
            <a:ext cx="2329457" cy="1048759"/>
            <a:chOff x="9090658" y="4150669"/>
            <a:chExt cx="2374309" cy="1381603"/>
          </a:xfrm>
        </p:grpSpPr>
        <p:pic>
          <p:nvPicPr>
            <p:cNvPr id="92" name="Picture 9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88135" y="4777272"/>
              <a:ext cx="754999" cy="75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TextBox 92"/>
            <p:cNvSpPr txBox="1"/>
            <p:nvPr/>
          </p:nvSpPr>
          <p:spPr>
            <a:xfrm>
              <a:off x="9090658" y="4150669"/>
              <a:ext cx="2374309" cy="589201"/>
            </a:xfrm>
            <a:prstGeom prst="rect">
              <a:avLst/>
            </a:prstGeom>
            <a:noFill/>
          </p:spPr>
          <p:txBody>
            <a:bodyPr wrap="none" rtlCol="0">
              <a:spAutoFit/>
            </a:bodyPr>
            <a:lstStyle/>
            <a:p>
              <a:pPr defTabSz="874063">
                <a:defRPr/>
              </a:pPr>
              <a:r>
                <a:rPr lang="en-US" sz="2250" kern="0" dirty="0">
                  <a:solidFill>
                    <a:srgbClr val="FFFFFF"/>
                  </a:solidFill>
                  <a:latin typeface="Segoe UI"/>
                </a:rPr>
                <a:t>Scalable Storage</a:t>
              </a:r>
            </a:p>
          </p:txBody>
        </p:sp>
      </p:grpSp>
      <p:grpSp>
        <p:nvGrpSpPr>
          <p:cNvPr id="94" name="Group 93"/>
          <p:cNvGrpSpPr/>
          <p:nvPr/>
        </p:nvGrpSpPr>
        <p:grpSpPr>
          <a:xfrm>
            <a:off x="1534793" y="2955633"/>
            <a:ext cx="1513201" cy="849974"/>
            <a:chOff x="7165720" y="3276805"/>
            <a:chExt cx="1032266" cy="747678"/>
          </a:xfrm>
        </p:grpSpPr>
        <p:pic>
          <p:nvPicPr>
            <p:cNvPr id="95" name="Picture 9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TextBox 95"/>
            <p:cNvSpPr txBox="1"/>
            <p:nvPr/>
          </p:nvSpPr>
          <p:spPr>
            <a:xfrm>
              <a:off x="7793220" y="3276805"/>
              <a:ext cx="404766" cy="704028"/>
            </a:xfrm>
            <a:prstGeom prst="rect">
              <a:avLst/>
            </a:prstGeom>
            <a:noFill/>
          </p:spPr>
          <p:txBody>
            <a:bodyPr wrap="square" rtlCol="0">
              <a:spAutoFit/>
            </a:bodyPr>
            <a:lstStyle/>
            <a:p>
              <a:pPr defTabSz="874063">
                <a:defRPr/>
              </a:pPr>
              <a:r>
                <a:rPr lang="en-US" sz="2250" kern="0" dirty="0">
                  <a:solidFill>
                    <a:srgbClr val="FFFFFF"/>
                  </a:solidFill>
                  <a:latin typeface="Segoe UI"/>
                </a:rPr>
                <a:t>VM</a:t>
              </a:r>
            </a:p>
          </p:txBody>
        </p:sp>
      </p:grpSp>
      <p:grpSp>
        <p:nvGrpSpPr>
          <p:cNvPr id="97" name="Group 96"/>
          <p:cNvGrpSpPr>
            <a:grpSpLocks noChangeAspect="1"/>
          </p:cNvGrpSpPr>
          <p:nvPr/>
        </p:nvGrpSpPr>
        <p:grpSpPr bwMode="auto">
          <a:xfrm>
            <a:off x="1089666" y="2149032"/>
            <a:ext cx="6873101" cy="3576664"/>
            <a:chOff x="4799" y="1203"/>
            <a:chExt cx="1945" cy="844"/>
          </a:xfrm>
        </p:grpSpPr>
        <p:sp>
          <p:nvSpPr>
            <p:cNvPr id="98" name="AutoShape 3"/>
            <p:cNvSpPr>
              <a:spLocks noChangeAspect="1" noChangeArrowheads="1" noTextEdit="1"/>
            </p:cNvSpPr>
            <p:nvPr/>
          </p:nvSpPr>
          <p:spPr bwMode="auto">
            <a:xfrm>
              <a:off x="4799" y="1203"/>
              <a:ext cx="1945" cy="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defTabSz="874063">
                <a:defRPr/>
              </a:pPr>
              <a:endParaRPr lang="en-US" sz="1721">
                <a:solidFill>
                  <a:srgbClr val="FFFFFF"/>
                </a:solidFill>
              </a:endParaRPr>
            </a:p>
          </p:txBody>
        </p:sp>
        <p:sp>
          <p:nvSpPr>
            <p:cNvPr id="99" name="Freeform 98"/>
            <p:cNvSpPr>
              <a:spLocks noEditPoints="1"/>
            </p:cNvSpPr>
            <p:nvPr/>
          </p:nvSpPr>
          <p:spPr bwMode="auto">
            <a:xfrm>
              <a:off x="4813" y="1217"/>
              <a:ext cx="1922" cy="774"/>
            </a:xfrm>
            <a:custGeom>
              <a:avLst/>
              <a:gdLst>
                <a:gd name="T0" fmla="*/ 11 w 2134"/>
                <a:gd name="T1" fmla="*/ 16 h 855"/>
                <a:gd name="T2" fmla="*/ 11 w 2134"/>
                <a:gd name="T3" fmla="*/ 69 h 855"/>
                <a:gd name="T4" fmla="*/ 11 w 2134"/>
                <a:gd name="T5" fmla="*/ 123 h 855"/>
                <a:gd name="T6" fmla="*/ 11 w 2134"/>
                <a:gd name="T7" fmla="*/ 177 h 855"/>
                <a:gd name="T8" fmla="*/ 11 w 2134"/>
                <a:gd name="T9" fmla="*/ 229 h 855"/>
                <a:gd name="T10" fmla="*/ 11 w 2134"/>
                <a:gd name="T11" fmla="*/ 282 h 855"/>
                <a:gd name="T12" fmla="*/ 11 w 2134"/>
                <a:gd name="T13" fmla="*/ 335 h 855"/>
                <a:gd name="T14" fmla="*/ 11 w 2134"/>
                <a:gd name="T15" fmla="*/ 387 h 855"/>
                <a:gd name="T16" fmla="*/ 26 w 2134"/>
                <a:gd name="T17" fmla="*/ 415 h 855"/>
                <a:gd name="T18" fmla="*/ 77 w 2134"/>
                <a:gd name="T19" fmla="*/ 415 h 855"/>
                <a:gd name="T20" fmla="*/ 129 w 2134"/>
                <a:gd name="T21" fmla="*/ 415 h 855"/>
                <a:gd name="T22" fmla="*/ 180 w 2134"/>
                <a:gd name="T23" fmla="*/ 415 h 855"/>
                <a:gd name="T24" fmla="*/ 231 w 2134"/>
                <a:gd name="T25" fmla="*/ 415 h 855"/>
                <a:gd name="T26" fmla="*/ 282 w 2134"/>
                <a:gd name="T27" fmla="*/ 415 h 855"/>
                <a:gd name="T28" fmla="*/ 333 w 2134"/>
                <a:gd name="T29" fmla="*/ 415 h 855"/>
                <a:gd name="T30" fmla="*/ 385 w 2134"/>
                <a:gd name="T31" fmla="*/ 415 h 855"/>
                <a:gd name="T32" fmla="*/ 436 w 2134"/>
                <a:gd name="T33" fmla="*/ 415 h 855"/>
                <a:gd name="T34" fmla="*/ 486 w 2134"/>
                <a:gd name="T35" fmla="*/ 415 h 855"/>
                <a:gd name="T36" fmla="*/ 539 w 2134"/>
                <a:gd name="T37" fmla="*/ 415 h 855"/>
                <a:gd name="T38" fmla="*/ 589 w 2134"/>
                <a:gd name="T39" fmla="*/ 415 h 855"/>
                <a:gd name="T40" fmla="*/ 641 w 2134"/>
                <a:gd name="T41" fmla="*/ 415 h 855"/>
                <a:gd name="T42" fmla="*/ 692 w 2134"/>
                <a:gd name="T43" fmla="*/ 415 h 855"/>
                <a:gd name="T44" fmla="*/ 743 w 2134"/>
                <a:gd name="T45" fmla="*/ 415 h 855"/>
                <a:gd name="T46" fmla="*/ 795 w 2134"/>
                <a:gd name="T47" fmla="*/ 415 h 855"/>
                <a:gd name="T48" fmla="*/ 846 w 2134"/>
                <a:gd name="T49" fmla="*/ 415 h 855"/>
                <a:gd name="T50" fmla="*/ 897 w 2134"/>
                <a:gd name="T51" fmla="*/ 415 h 855"/>
                <a:gd name="T52" fmla="*/ 948 w 2134"/>
                <a:gd name="T53" fmla="*/ 415 h 855"/>
                <a:gd name="T54" fmla="*/ 1000 w 2134"/>
                <a:gd name="T55" fmla="*/ 415 h 855"/>
                <a:gd name="T56" fmla="*/ 1016 w 2134"/>
                <a:gd name="T57" fmla="*/ 388 h 855"/>
                <a:gd name="T58" fmla="*/ 1016 w 2134"/>
                <a:gd name="T59" fmla="*/ 336 h 855"/>
                <a:gd name="T60" fmla="*/ 1016 w 2134"/>
                <a:gd name="T61" fmla="*/ 282 h 855"/>
                <a:gd name="T62" fmla="*/ 1016 w 2134"/>
                <a:gd name="T63" fmla="*/ 229 h 855"/>
                <a:gd name="T64" fmla="*/ 1016 w 2134"/>
                <a:gd name="T65" fmla="*/ 177 h 855"/>
                <a:gd name="T66" fmla="*/ 1016 w 2134"/>
                <a:gd name="T67" fmla="*/ 124 h 855"/>
                <a:gd name="T68" fmla="*/ 1016 w 2134"/>
                <a:gd name="T69" fmla="*/ 71 h 855"/>
                <a:gd name="T70" fmla="*/ 1016 w 2134"/>
                <a:gd name="T71" fmla="*/ 17 h 855"/>
                <a:gd name="T72" fmla="*/ 981 w 2134"/>
                <a:gd name="T73" fmla="*/ 11 h 855"/>
                <a:gd name="T74" fmla="*/ 929 w 2134"/>
                <a:gd name="T75" fmla="*/ 11 h 855"/>
                <a:gd name="T76" fmla="*/ 878 w 2134"/>
                <a:gd name="T77" fmla="*/ 11 h 855"/>
                <a:gd name="T78" fmla="*/ 827 w 2134"/>
                <a:gd name="T79" fmla="*/ 11 h 855"/>
                <a:gd name="T80" fmla="*/ 775 w 2134"/>
                <a:gd name="T81" fmla="*/ 11 h 855"/>
                <a:gd name="T82" fmla="*/ 724 w 2134"/>
                <a:gd name="T83" fmla="*/ 11 h 855"/>
                <a:gd name="T84" fmla="*/ 673 w 2134"/>
                <a:gd name="T85" fmla="*/ 11 h 855"/>
                <a:gd name="T86" fmla="*/ 621 w 2134"/>
                <a:gd name="T87" fmla="*/ 11 h 855"/>
                <a:gd name="T88" fmla="*/ 570 w 2134"/>
                <a:gd name="T89" fmla="*/ 11 h 855"/>
                <a:gd name="T90" fmla="*/ 519 w 2134"/>
                <a:gd name="T91" fmla="*/ 11 h 855"/>
                <a:gd name="T92" fmla="*/ 467 w 2134"/>
                <a:gd name="T93" fmla="*/ 11 h 855"/>
                <a:gd name="T94" fmla="*/ 416 w 2134"/>
                <a:gd name="T95" fmla="*/ 11 h 855"/>
                <a:gd name="T96" fmla="*/ 365 w 2134"/>
                <a:gd name="T97" fmla="*/ 11 h 855"/>
                <a:gd name="T98" fmla="*/ 313 w 2134"/>
                <a:gd name="T99" fmla="*/ 11 h 855"/>
                <a:gd name="T100" fmla="*/ 262 w 2134"/>
                <a:gd name="T101" fmla="*/ 11 h 855"/>
                <a:gd name="T102" fmla="*/ 211 w 2134"/>
                <a:gd name="T103" fmla="*/ 11 h 855"/>
                <a:gd name="T104" fmla="*/ 159 w 2134"/>
                <a:gd name="T105" fmla="*/ 11 h 855"/>
                <a:gd name="T106" fmla="*/ 110 w 2134"/>
                <a:gd name="T107" fmla="*/ 11 h 855"/>
                <a:gd name="T108" fmla="*/ 56 w 2134"/>
                <a:gd name="T109" fmla="*/ 11 h 855"/>
                <a:gd name="T110" fmla="*/ 5 w 2134"/>
                <a:gd name="T111" fmla="*/ 11 h 8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34" h="855">
                  <a:moveTo>
                    <a:pt x="22" y="32"/>
                  </a:moveTo>
                  <a:lnTo>
                    <a:pt x="22" y="32"/>
                  </a:lnTo>
                  <a:cubicBezTo>
                    <a:pt x="22" y="38"/>
                    <a:pt x="17" y="43"/>
                    <a:pt x="11" y="43"/>
                  </a:cubicBezTo>
                  <a:cubicBezTo>
                    <a:pt x="5" y="43"/>
                    <a:pt x="0" y="38"/>
                    <a:pt x="0" y="32"/>
                  </a:cubicBezTo>
                  <a:cubicBezTo>
                    <a:pt x="0" y="27"/>
                    <a:pt x="5" y="22"/>
                    <a:pt x="11" y="22"/>
                  </a:cubicBezTo>
                  <a:cubicBezTo>
                    <a:pt x="17" y="22"/>
                    <a:pt x="22" y="27"/>
                    <a:pt x="22" y="32"/>
                  </a:cubicBezTo>
                  <a:close/>
                  <a:moveTo>
                    <a:pt x="22" y="139"/>
                  </a:moveTo>
                  <a:lnTo>
                    <a:pt x="22" y="139"/>
                  </a:lnTo>
                  <a:cubicBezTo>
                    <a:pt x="22" y="145"/>
                    <a:pt x="17" y="150"/>
                    <a:pt x="11" y="150"/>
                  </a:cubicBezTo>
                  <a:cubicBezTo>
                    <a:pt x="5" y="150"/>
                    <a:pt x="0" y="145"/>
                    <a:pt x="0" y="139"/>
                  </a:cubicBezTo>
                  <a:cubicBezTo>
                    <a:pt x="0" y="133"/>
                    <a:pt x="5" y="128"/>
                    <a:pt x="11" y="128"/>
                  </a:cubicBezTo>
                  <a:cubicBezTo>
                    <a:pt x="17" y="128"/>
                    <a:pt x="22" y="133"/>
                    <a:pt x="22" y="139"/>
                  </a:cubicBezTo>
                  <a:close/>
                  <a:moveTo>
                    <a:pt x="22" y="246"/>
                  </a:moveTo>
                  <a:lnTo>
                    <a:pt x="22" y="246"/>
                  </a:lnTo>
                  <a:cubicBezTo>
                    <a:pt x="22" y="252"/>
                    <a:pt x="17" y="257"/>
                    <a:pt x="11" y="257"/>
                  </a:cubicBezTo>
                  <a:cubicBezTo>
                    <a:pt x="5" y="257"/>
                    <a:pt x="0" y="252"/>
                    <a:pt x="0" y="246"/>
                  </a:cubicBezTo>
                  <a:cubicBezTo>
                    <a:pt x="0" y="240"/>
                    <a:pt x="5" y="235"/>
                    <a:pt x="11" y="235"/>
                  </a:cubicBezTo>
                  <a:cubicBezTo>
                    <a:pt x="17" y="235"/>
                    <a:pt x="22" y="240"/>
                    <a:pt x="22" y="246"/>
                  </a:cubicBezTo>
                  <a:close/>
                  <a:moveTo>
                    <a:pt x="22" y="353"/>
                  </a:moveTo>
                  <a:lnTo>
                    <a:pt x="22" y="353"/>
                  </a:lnTo>
                  <a:cubicBezTo>
                    <a:pt x="22" y="358"/>
                    <a:pt x="17" y="363"/>
                    <a:pt x="11" y="363"/>
                  </a:cubicBezTo>
                  <a:cubicBezTo>
                    <a:pt x="5" y="363"/>
                    <a:pt x="0" y="358"/>
                    <a:pt x="0" y="353"/>
                  </a:cubicBezTo>
                  <a:cubicBezTo>
                    <a:pt x="0" y="347"/>
                    <a:pt x="5" y="342"/>
                    <a:pt x="11" y="342"/>
                  </a:cubicBezTo>
                  <a:cubicBezTo>
                    <a:pt x="17" y="342"/>
                    <a:pt x="22" y="347"/>
                    <a:pt x="22" y="353"/>
                  </a:cubicBezTo>
                  <a:close/>
                  <a:moveTo>
                    <a:pt x="22" y="459"/>
                  </a:moveTo>
                  <a:lnTo>
                    <a:pt x="22" y="459"/>
                  </a:lnTo>
                  <a:cubicBezTo>
                    <a:pt x="22" y="465"/>
                    <a:pt x="17" y="470"/>
                    <a:pt x="11" y="470"/>
                  </a:cubicBezTo>
                  <a:cubicBezTo>
                    <a:pt x="5" y="470"/>
                    <a:pt x="0" y="465"/>
                    <a:pt x="0" y="459"/>
                  </a:cubicBezTo>
                  <a:cubicBezTo>
                    <a:pt x="0" y="453"/>
                    <a:pt x="5" y="449"/>
                    <a:pt x="11" y="449"/>
                  </a:cubicBezTo>
                  <a:cubicBezTo>
                    <a:pt x="17" y="449"/>
                    <a:pt x="22" y="453"/>
                    <a:pt x="22" y="459"/>
                  </a:cubicBezTo>
                  <a:close/>
                  <a:moveTo>
                    <a:pt x="22" y="566"/>
                  </a:moveTo>
                  <a:lnTo>
                    <a:pt x="22" y="566"/>
                  </a:lnTo>
                  <a:cubicBezTo>
                    <a:pt x="22" y="572"/>
                    <a:pt x="17" y="577"/>
                    <a:pt x="11" y="577"/>
                  </a:cubicBezTo>
                  <a:cubicBezTo>
                    <a:pt x="5" y="577"/>
                    <a:pt x="0" y="572"/>
                    <a:pt x="0" y="566"/>
                  </a:cubicBezTo>
                  <a:cubicBezTo>
                    <a:pt x="0" y="560"/>
                    <a:pt x="5" y="555"/>
                    <a:pt x="11" y="555"/>
                  </a:cubicBezTo>
                  <a:cubicBezTo>
                    <a:pt x="17" y="555"/>
                    <a:pt x="22" y="560"/>
                    <a:pt x="22" y="566"/>
                  </a:cubicBezTo>
                  <a:close/>
                  <a:moveTo>
                    <a:pt x="22" y="673"/>
                  </a:moveTo>
                  <a:lnTo>
                    <a:pt x="22" y="673"/>
                  </a:lnTo>
                  <a:cubicBezTo>
                    <a:pt x="22" y="679"/>
                    <a:pt x="17" y="683"/>
                    <a:pt x="11" y="683"/>
                  </a:cubicBezTo>
                  <a:cubicBezTo>
                    <a:pt x="5" y="683"/>
                    <a:pt x="0" y="679"/>
                    <a:pt x="0" y="673"/>
                  </a:cubicBezTo>
                  <a:cubicBezTo>
                    <a:pt x="0" y="667"/>
                    <a:pt x="5" y="662"/>
                    <a:pt x="11" y="662"/>
                  </a:cubicBezTo>
                  <a:cubicBezTo>
                    <a:pt x="17" y="662"/>
                    <a:pt x="22" y="667"/>
                    <a:pt x="22" y="673"/>
                  </a:cubicBezTo>
                  <a:close/>
                  <a:moveTo>
                    <a:pt x="22" y="779"/>
                  </a:moveTo>
                  <a:lnTo>
                    <a:pt x="22" y="779"/>
                  </a:lnTo>
                  <a:cubicBezTo>
                    <a:pt x="22" y="785"/>
                    <a:pt x="17" y="790"/>
                    <a:pt x="11" y="790"/>
                  </a:cubicBezTo>
                  <a:cubicBezTo>
                    <a:pt x="5" y="790"/>
                    <a:pt x="0" y="785"/>
                    <a:pt x="0" y="779"/>
                  </a:cubicBezTo>
                  <a:cubicBezTo>
                    <a:pt x="0" y="773"/>
                    <a:pt x="5" y="769"/>
                    <a:pt x="11" y="769"/>
                  </a:cubicBezTo>
                  <a:cubicBezTo>
                    <a:pt x="17" y="769"/>
                    <a:pt x="22" y="773"/>
                    <a:pt x="22" y="779"/>
                  </a:cubicBezTo>
                  <a:close/>
                  <a:moveTo>
                    <a:pt x="53" y="834"/>
                  </a:moveTo>
                  <a:lnTo>
                    <a:pt x="53" y="834"/>
                  </a:lnTo>
                  <a:cubicBezTo>
                    <a:pt x="59" y="834"/>
                    <a:pt x="63" y="838"/>
                    <a:pt x="63" y="844"/>
                  </a:cubicBezTo>
                  <a:cubicBezTo>
                    <a:pt x="63" y="850"/>
                    <a:pt x="59" y="855"/>
                    <a:pt x="53" y="855"/>
                  </a:cubicBezTo>
                  <a:cubicBezTo>
                    <a:pt x="47" y="855"/>
                    <a:pt x="42" y="850"/>
                    <a:pt x="42" y="844"/>
                  </a:cubicBezTo>
                  <a:cubicBezTo>
                    <a:pt x="42" y="838"/>
                    <a:pt x="47" y="834"/>
                    <a:pt x="53" y="834"/>
                  </a:cubicBezTo>
                  <a:close/>
                  <a:moveTo>
                    <a:pt x="159" y="834"/>
                  </a:moveTo>
                  <a:lnTo>
                    <a:pt x="160" y="834"/>
                  </a:lnTo>
                  <a:cubicBezTo>
                    <a:pt x="165" y="834"/>
                    <a:pt x="170" y="838"/>
                    <a:pt x="170" y="844"/>
                  </a:cubicBezTo>
                  <a:cubicBezTo>
                    <a:pt x="170" y="850"/>
                    <a:pt x="165" y="855"/>
                    <a:pt x="160" y="855"/>
                  </a:cubicBezTo>
                  <a:lnTo>
                    <a:pt x="159" y="855"/>
                  </a:lnTo>
                  <a:cubicBezTo>
                    <a:pt x="154" y="855"/>
                    <a:pt x="149" y="850"/>
                    <a:pt x="149" y="844"/>
                  </a:cubicBezTo>
                  <a:cubicBezTo>
                    <a:pt x="149" y="838"/>
                    <a:pt x="154" y="834"/>
                    <a:pt x="159" y="834"/>
                  </a:cubicBezTo>
                  <a:close/>
                  <a:moveTo>
                    <a:pt x="266" y="834"/>
                  </a:moveTo>
                  <a:lnTo>
                    <a:pt x="266" y="834"/>
                  </a:lnTo>
                  <a:cubicBezTo>
                    <a:pt x="272" y="834"/>
                    <a:pt x="277" y="838"/>
                    <a:pt x="277" y="844"/>
                  </a:cubicBezTo>
                  <a:cubicBezTo>
                    <a:pt x="277" y="850"/>
                    <a:pt x="272" y="855"/>
                    <a:pt x="266" y="855"/>
                  </a:cubicBezTo>
                  <a:cubicBezTo>
                    <a:pt x="260" y="855"/>
                    <a:pt x="256" y="850"/>
                    <a:pt x="256" y="844"/>
                  </a:cubicBezTo>
                  <a:cubicBezTo>
                    <a:pt x="256" y="838"/>
                    <a:pt x="260" y="834"/>
                    <a:pt x="266" y="834"/>
                  </a:cubicBezTo>
                  <a:close/>
                  <a:moveTo>
                    <a:pt x="373" y="834"/>
                  </a:moveTo>
                  <a:lnTo>
                    <a:pt x="373" y="834"/>
                  </a:lnTo>
                  <a:cubicBezTo>
                    <a:pt x="379" y="834"/>
                    <a:pt x="384" y="838"/>
                    <a:pt x="384" y="844"/>
                  </a:cubicBezTo>
                  <a:cubicBezTo>
                    <a:pt x="384" y="850"/>
                    <a:pt x="379" y="855"/>
                    <a:pt x="373" y="855"/>
                  </a:cubicBezTo>
                  <a:cubicBezTo>
                    <a:pt x="367" y="855"/>
                    <a:pt x="362" y="850"/>
                    <a:pt x="362" y="844"/>
                  </a:cubicBezTo>
                  <a:cubicBezTo>
                    <a:pt x="362" y="838"/>
                    <a:pt x="367" y="834"/>
                    <a:pt x="373" y="834"/>
                  </a:cubicBezTo>
                  <a:close/>
                  <a:moveTo>
                    <a:pt x="480" y="834"/>
                  </a:moveTo>
                  <a:lnTo>
                    <a:pt x="480" y="834"/>
                  </a:lnTo>
                  <a:cubicBezTo>
                    <a:pt x="485" y="834"/>
                    <a:pt x="490" y="838"/>
                    <a:pt x="490" y="844"/>
                  </a:cubicBezTo>
                  <a:cubicBezTo>
                    <a:pt x="490" y="850"/>
                    <a:pt x="485" y="855"/>
                    <a:pt x="480" y="855"/>
                  </a:cubicBezTo>
                  <a:cubicBezTo>
                    <a:pt x="474" y="855"/>
                    <a:pt x="469" y="850"/>
                    <a:pt x="469" y="844"/>
                  </a:cubicBezTo>
                  <a:cubicBezTo>
                    <a:pt x="469" y="838"/>
                    <a:pt x="474" y="834"/>
                    <a:pt x="480" y="834"/>
                  </a:cubicBezTo>
                  <a:close/>
                  <a:moveTo>
                    <a:pt x="586" y="834"/>
                  </a:moveTo>
                  <a:lnTo>
                    <a:pt x="586" y="834"/>
                  </a:lnTo>
                  <a:cubicBezTo>
                    <a:pt x="592" y="834"/>
                    <a:pt x="597" y="838"/>
                    <a:pt x="597" y="844"/>
                  </a:cubicBezTo>
                  <a:cubicBezTo>
                    <a:pt x="597" y="850"/>
                    <a:pt x="592" y="855"/>
                    <a:pt x="586" y="855"/>
                  </a:cubicBezTo>
                  <a:cubicBezTo>
                    <a:pt x="580" y="855"/>
                    <a:pt x="576" y="850"/>
                    <a:pt x="576" y="844"/>
                  </a:cubicBezTo>
                  <a:cubicBezTo>
                    <a:pt x="576" y="838"/>
                    <a:pt x="580" y="834"/>
                    <a:pt x="586" y="834"/>
                  </a:cubicBezTo>
                  <a:close/>
                  <a:moveTo>
                    <a:pt x="693" y="834"/>
                  </a:moveTo>
                  <a:lnTo>
                    <a:pt x="693" y="834"/>
                  </a:lnTo>
                  <a:cubicBezTo>
                    <a:pt x="699" y="834"/>
                    <a:pt x="704" y="838"/>
                    <a:pt x="704" y="844"/>
                  </a:cubicBezTo>
                  <a:cubicBezTo>
                    <a:pt x="704" y="850"/>
                    <a:pt x="699" y="855"/>
                    <a:pt x="693" y="855"/>
                  </a:cubicBezTo>
                  <a:cubicBezTo>
                    <a:pt x="687" y="855"/>
                    <a:pt x="682" y="850"/>
                    <a:pt x="682" y="844"/>
                  </a:cubicBezTo>
                  <a:cubicBezTo>
                    <a:pt x="682" y="838"/>
                    <a:pt x="687" y="834"/>
                    <a:pt x="693" y="834"/>
                  </a:cubicBezTo>
                  <a:close/>
                  <a:moveTo>
                    <a:pt x="800" y="834"/>
                  </a:moveTo>
                  <a:lnTo>
                    <a:pt x="800" y="834"/>
                  </a:lnTo>
                  <a:cubicBezTo>
                    <a:pt x="806" y="834"/>
                    <a:pt x="810" y="838"/>
                    <a:pt x="810" y="844"/>
                  </a:cubicBezTo>
                  <a:cubicBezTo>
                    <a:pt x="810" y="850"/>
                    <a:pt x="806" y="855"/>
                    <a:pt x="800" y="855"/>
                  </a:cubicBezTo>
                  <a:cubicBezTo>
                    <a:pt x="794" y="855"/>
                    <a:pt x="789" y="850"/>
                    <a:pt x="789" y="844"/>
                  </a:cubicBezTo>
                  <a:cubicBezTo>
                    <a:pt x="789" y="838"/>
                    <a:pt x="794" y="834"/>
                    <a:pt x="800" y="834"/>
                  </a:cubicBezTo>
                  <a:close/>
                  <a:moveTo>
                    <a:pt x="906" y="834"/>
                  </a:moveTo>
                  <a:lnTo>
                    <a:pt x="906" y="834"/>
                  </a:lnTo>
                  <a:cubicBezTo>
                    <a:pt x="912" y="834"/>
                    <a:pt x="917" y="838"/>
                    <a:pt x="917" y="844"/>
                  </a:cubicBezTo>
                  <a:cubicBezTo>
                    <a:pt x="917" y="850"/>
                    <a:pt x="912" y="855"/>
                    <a:pt x="906" y="855"/>
                  </a:cubicBezTo>
                  <a:cubicBezTo>
                    <a:pt x="900" y="855"/>
                    <a:pt x="896" y="850"/>
                    <a:pt x="896" y="844"/>
                  </a:cubicBezTo>
                  <a:cubicBezTo>
                    <a:pt x="896" y="838"/>
                    <a:pt x="900" y="834"/>
                    <a:pt x="906" y="834"/>
                  </a:cubicBezTo>
                  <a:close/>
                  <a:moveTo>
                    <a:pt x="1013" y="834"/>
                  </a:moveTo>
                  <a:lnTo>
                    <a:pt x="1013" y="834"/>
                  </a:lnTo>
                  <a:cubicBezTo>
                    <a:pt x="1019" y="834"/>
                    <a:pt x="1024" y="838"/>
                    <a:pt x="1024" y="844"/>
                  </a:cubicBezTo>
                  <a:cubicBezTo>
                    <a:pt x="1024" y="850"/>
                    <a:pt x="1019" y="855"/>
                    <a:pt x="1013" y="855"/>
                  </a:cubicBezTo>
                  <a:cubicBezTo>
                    <a:pt x="1007" y="855"/>
                    <a:pt x="1002" y="850"/>
                    <a:pt x="1002" y="844"/>
                  </a:cubicBezTo>
                  <a:cubicBezTo>
                    <a:pt x="1002" y="838"/>
                    <a:pt x="1007" y="834"/>
                    <a:pt x="1013" y="834"/>
                  </a:cubicBezTo>
                  <a:close/>
                  <a:moveTo>
                    <a:pt x="1120" y="834"/>
                  </a:moveTo>
                  <a:lnTo>
                    <a:pt x="1120" y="834"/>
                  </a:lnTo>
                  <a:cubicBezTo>
                    <a:pt x="1126" y="834"/>
                    <a:pt x="1130" y="838"/>
                    <a:pt x="1130" y="844"/>
                  </a:cubicBezTo>
                  <a:cubicBezTo>
                    <a:pt x="1130" y="850"/>
                    <a:pt x="1126" y="855"/>
                    <a:pt x="1120" y="855"/>
                  </a:cubicBezTo>
                  <a:cubicBezTo>
                    <a:pt x="1114" y="855"/>
                    <a:pt x="1109" y="850"/>
                    <a:pt x="1109" y="844"/>
                  </a:cubicBezTo>
                  <a:cubicBezTo>
                    <a:pt x="1109" y="838"/>
                    <a:pt x="1114" y="834"/>
                    <a:pt x="1120" y="834"/>
                  </a:cubicBezTo>
                  <a:close/>
                  <a:moveTo>
                    <a:pt x="1226" y="834"/>
                  </a:moveTo>
                  <a:lnTo>
                    <a:pt x="1226" y="834"/>
                  </a:lnTo>
                  <a:cubicBezTo>
                    <a:pt x="1232" y="834"/>
                    <a:pt x="1237" y="838"/>
                    <a:pt x="1237" y="844"/>
                  </a:cubicBezTo>
                  <a:cubicBezTo>
                    <a:pt x="1237" y="850"/>
                    <a:pt x="1232" y="855"/>
                    <a:pt x="1226" y="855"/>
                  </a:cubicBezTo>
                  <a:cubicBezTo>
                    <a:pt x="1220" y="855"/>
                    <a:pt x="1216" y="850"/>
                    <a:pt x="1216" y="844"/>
                  </a:cubicBezTo>
                  <a:cubicBezTo>
                    <a:pt x="1216" y="838"/>
                    <a:pt x="1220" y="834"/>
                    <a:pt x="1226" y="834"/>
                  </a:cubicBezTo>
                  <a:close/>
                  <a:moveTo>
                    <a:pt x="1333" y="834"/>
                  </a:moveTo>
                  <a:lnTo>
                    <a:pt x="1333" y="834"/>
                  </a:lnTo>
                  <a:cubicBezTo>
                    <a:pt x="1339" y="834"/>
                    <a:pt x="1344" y="838"/>
                    <a:pt x="1344" y="844"/>
                  </a:cubicBezTo>
                  <a:cubicBezTo>
                    <a:pt x="1344" y="850"/>
                    <a:pt x="1339" y="855"/>
                    <a:pt x="1333" y="855"/>
                  </a:cubicBezTo>
                  <a:cubicBezTo>
                    <a:pt x="1327" y="855"/>
                    <a:pt x="1322" y="850"/>
                    <a:pt x="1322" y="844"/>
                  </a:cubicBezTo>
                  <a:cubicBezTo>
                    <a:pt x="1322" y="838"/>
                    <a:pt x="1327" y="834"/>
                    <a:pt x="1333" y="834"/>
                  </a:cubicBezTo>
                  <a:close/>
                  <a:moveTo>
                    <a:pt x="1440" y="834"/>
                  </a:moveTo>
                  <a:lnTo>
                    <a:pt x="1440" y="834"/>
                  </a:lnTo>
                  <a:cubicBezTo>
                    <a:pt x="1446" y="834"/>
                    <a:pt x="1450" y="838"/>
                    <a:pt x="1450" y="844"/>
                  </a:cubicBezTo>
                  <a:cubicBezTo>
                    <a:pt x="1450" y="850"/>
                    <a:pt x="1446" y="855"/>
                    <a:pt x="1440" y="855"/>
                  </a:cubicBezTo>
                  <a:cubicBezTo>
                    <a:pt x="1434" y="855"/>
                    <a:pt x="1429" y="850"/>
                    <a:pt x="1429" y="844"/>
                  </a:cubicBezTo>
                  <a:cubicBezTo>
                    <a:pt x="1429" y="838"/>
                    <a:pt x="1434" y="834"/>
                    <a:pt x="1440" y="834"/>
                  </a:cubicBezTo>
                  <a:close/>
                  <a:moveTo>
                    <a:pt x="1546" y="834"/>
                  </a:moveTo>
                  <a:lnTo>
                    <a:pt x="1546" y="834"/>
                  </a:lnTo>
                  <a:cubicBezTo>
                    <a:pt x="1552" y="834"/>
                    <a:pt x="1557" y="838"/>
                    <a:pt x="1557" y="844"/>
                  </a:cubicBezTo>
                  <a:cubicBezTo>
                    <a:pt x="1557" y="850"/>
                    <a:pt x="1552" y="855"/>
                    <a:pt x="1546" y="855"/>
                  </a:cubicBezTo>
                  <a:cubicBezTo>
                    <a:pt x="1541" y="855"/>
                    <a:pt x="1536" y="850"/>
                    <a:pt x="1536" y="844"/>
                  </a:cubicBezTo>
                  <a:cubicBezTo>
                    <a:pt x="1536" y="838"/>
                    <a:pt x="1541" y="834"/>
                    <a:pt x="1546" y="834"/>
                  </a:cubicBezTo>
                  <a:close/>
                  <a:moveTo>
                    <a:pt x="1653" y="834"/>
                  </a:moveTo>
                  <a:lnTo>
                    <a:pt x="1653" y="834"/>
                  </a:lnTo>
                  <a:cubicBezTo>
                    <a:pt x="1659" y="834"/>
                    <a:pt x="1664" y="838"/>
                    <a:pt x="1664" y="844"/>
                  </a:cubicBezTo>
                  <a:cubicBezTo>
                    <a:pt x="1664" y="850"/>
                    <a:pt x="1659" y="855"/>
                    <a:pt x="1653" y="855"/>
                  </a:cubicBezTo>
                  <a:cubicBezTo>
                    <a:pt x="1647" y="855"/>
                    <a:pt x="1642" y="850"/>
                    <a:pt x="1642" y="844"/>
                  </a:cubicBezTo>
                  <a:cubicBezTo>
                    <a:pt x="1642" y="838"/>
                    <a:pt x="1647" y="834"/>
                    <a:pt x="1653" y="834"/>
                  </a:cubicBezTo>
                  <a:close/>
                  <a:moveTo>
                    <a:pt x="1760" y="834"/>
                  </a:moveTo>
                  <a:lnTo>
                    <a:pt x="1760" y="834"/>
                  </a:lnTo>
                  <a:cubicBezTo>
                    <a:pt x="1766" y="834"/>
                    <a:pt x="1771" y="838"/>
                    <a:pt x="1771" y="844"/>
                  </a:cubicBezTo>
                  <a:cubicBezTo>
                    <a:pt x="1771" y="850"/>
                    <a:pt x="1766" y="855"/>
                    <a:pt x="1760" y="855"/>
                  </a:cubicBezTo>
                  <a:cubicBezTo>
                    <a:pt x="1754" y="855"/>
                    <a:pt x="1749" y="850"/>
                    <a:pt x="1749" y="844"/>
                  </a:cubicBezTo>
                  <a:cubicBezTo>
                    <a:pt x="1749" y="838"/>
                    <a:pt x="1754" y="834"/>
                    <a:pt x="1760" y="834"/>
                  </a:cubicBezTo>
                  <a:close/>
                  <a:moveTo>
                    <a:pt x="1867" y="834"/>
                  </a:moveTo>
                  <a:lnTo>
                    <a:pt x="1867" y="834"/>
                  </a:lnTo>
                  <a:cubicBezTo>
                    <a:pt x="1872" y="834"/>
                    <a:pt x="1877" y="838"/>
                    <a:pt x="1877" y="844"/>
                  </a:cubicBezTo>
                  <a:cubicBezTo>
                    <a:pt x="1877" y="850"/>
                    <a:pt x="1872" y="855"/>
                    <a:pt x="1867" y="855"/>
                  </a:cubicBezTo>
                  <a:cubicBezTo>
                    <a:pt x="1861" y="855"/>
                    <a:pt x="1856" y="850"/>
                    <a:pt x="1856" y="844"/>
                  </a:cubicBezTo>
                  <a:cubicBezTo>
                    <a:pt x="1856" y="838"/>
                    <a:pt x="1861" y="834"/>
                    <a:pt x="1867" y="834"/>
                  </a:cubicBezTo>
                  <a:close/>
                  <a:moveTo>
                    <a:pt x="1973" y="834"/>
                  </a:moveTo>
                  <a:lnTo>
                    <a:pt x="1973" y="834"/>
                  </a:lnTo>
                  <a:cubicBezTo>
                    <a:pt x="1979" y="834"/>
                    <a:pt x="1984" y="838"/>
                    <a:pt x="1984" y="844"/>
                  </a:cubicBezTo>
                  <a:cubicBezTo>
                    <a:pt x="1984" y="850"/>
                    <a:pt x="1979" y="855"/>
                    <a:pt x="1973" y="855"/>
                  </a:cubicBezTo>
                  <a:cubicBezTo>
                    <a:pt x="1967" y="855"/>
                    <a:pt x="1963" y="850"/>
                    <a:pt x="1963" y="844"/>
                  </a:cubicBezTo>
                  <a:cubicBezTo>
                    <a:pt x="1963" y="838"/>
                    <a:pt x="1967" y="834"/>
                    <a:pt x="1973" y="834"/>
                  </a:cubicBezTo>
                  <a:close/>
                  <a:moveTo>
                    <a:pt x="2080" y="834"/>
                  </a:moveTo>
                  <a:lnTo>
                    <a:pt x="2080" y="834"/>
                  </a:lnTo>
                  <a:cubicBezTo>
                    <a:pt x="2086" y="834"/>
                    <a:pt x="2091" y="838"/>
                    <a:pt x="2091" y="844"/>
                  </a:cubicBezTo>
                  <a:cubicBezTo>
                    <a:pt x="2091" y="850"/>
                    <a:pt x="2086" y="855"/>
                    <a:pt x="2080" y="855"/>
                  </a:cubicBezTo>
                  <a:cubicBezTo>
                    <a:pt x="2074" y="855"/>
                    <a:pt x="2069" y="850"/>
                    <a:pt x="2069" y="844"/>
                  </a:cubicBezTo>
                  <a:cubicBezTo>
                    <a:pt x="2069" y="838"/>
                    <a:pt x="2074" y="834"/>
                    <a:pt x="2080" y="834"/>
                  </a:cubicBezTo>
                  <a:close/>
                  <a:moveTo>
                    <a:pt x="2112" y="781"/>
                  </a:moveTo>
                  <a:lnTo>
                    <a:pt x="2112" y="781"/>
                  </a:lnTo>
                  <a:cubicBezTo>
                    <a:pt x="2112" y="775"/>
                    <a:pt x="2117" y="770"/>
                    <a:pt x="2123" y="770"/>
                  </a:cubicBezTo>
                  <a:cubicBezTo>
                    <a:pt x="2129" y="770"/>
                    <a:pt x="2134" y="775"/>
                    <a:pt x="2134" y="781"/>
                  </a:cubicBezTo>
                  <a:cubicBezTo>
                    <a:pt x="2134" y="787"/>
                    <a:pt x="2129" y="792"/>
                    <a:pt x="2123" y="792"/>
                  </a:cubicBezTo>
                  <a:cubicBezTo>
                    <a:pt x="2117" y="792"/>
                    <a:pt x="2112" y="787"/>
                    <a:pt x="2112" y="781"/>
                  </a:cubicBezTo>
                  <a:close/>
                  <a:moveTo>
                    <a:pt x="2112" y="674"/>
                  </a:moveTo>
                  <a:lnTo>
                    <a:pt x="2112" y="674"/>
                  </a:lnTo>
                  <a:cubicBezTo>
                    <a:pt x="2112" y="668"/>
                    <a:pt x="2117" y="663"/>
                    <a:pt x="2123" y="663"/>
                  </a:cubicBezTo>
                  <a:cubicBezTo>
                    <a:pt x="2129" y="663"/>
                    <a:pt x="2134" y="668"/>
                    <a:pt x="2134" y="674"/>
                  </a:cubicBezTo>
                  <a:cubicBezTo>
                    <a:pt x="2134" y="680"/>
                    <a:pt x="2129" y="685"/>
                    <a:pt x="2123" y="685"/>
                  </a:cubicBezTo>
                  <a:cubicBezTo>
                    <a:pt x="2117" y="685"/>
                    <a:pt x="2112" y="680"/>
                    <a:pt x="2112" y="674"/>
                  </a:cubicBezTo>
                  <a:close/>
                  <a:moveTo>
                    <a:pt x="2112" y="567"/>
                  </a:moveTo>
                  <a:lnTo>
                    <a:pt x="2112" y="567"/>
                  </a:lnTo>
                  <a:cubicBezTo>
                    <a:pt x="2112" y="562"/>
                    <a:pt x="2117" y="557"/>
                    <a:pt x="2123" y="557"/>
                  </a:cubicBezTo>
                  <a:cubicBezTo>
                    <a:pt x="2129" y="557"/>
                    <a:pt x="2134" y="562"/>
                    <a:pt x="2134" y="567"/>
                  </a:cubicBezTo>
                  <a:cubicBezTo>
                    <a:pt x="2134" y="573"/>
                    <a:pt x="2129" y="578"/>
                    <a:pt x="2123" y="578"/>
                  </a:cubicBezTo>
                  <a:cubicBezTo>
                    <a:pt x="2117" y="578"/>
                    <a:pt x="2112" y="573"/>
                    <a:pt x="2112" y="567"/>
                  </a:cubicBezTo>
                  <a:close/>
                  <a:moveTo>
                    <a:pt x="2112" y="461"/>
                  </a:moveTo>
                  <a:lnTo>
                    <a:pt x="2112" y="461"/>
                  </a:lnTo>
                  <a:cubicBezTo>
                    <a:pt x="2112" y="455"/>
                    <a:pt x="2117" y="450"/>
                    <a:pt x="2123" y="450"/>
                  </a:cubicBezTo>
                  <a:cubicBezTo>
                    <a:pt x="2129" y="450"/>
                    <a:pt x="2134" y="455"/>
                    <a:pt x="2134" y="461"/>
                  </a:cubicBezTo>
                  <a:cubicBezTo>
                    <a:pt x="2134" y="467"/>
                    <a:pt x="2129" y="471"/>
                    <a:pt x="2123" y="471"/>
                  </a:cubicBezTo>
                  <a:cubicBezTo>
                    <a:pt x="2117" y="471"/>
                    <a:pt x="2112" y="467"/>
                    <a:pt x="2112" y="461"/>
                  </a:cubicBezTo>
                  <a:close/>
                  <a:moveTo>
                    <a:pt x="2112" y="354"/>
                  </a:moveTo>
                  <a:lnTo>
                    <a:pt x="2112" y="354"/>
                  </a:lnTo>
                  <a:cubicBezTo>
                    <a:pt x="2112" y="348"/>
                    <a:pt x="2117" y="343"/>
                    <a:pt x="2123" y="343"/>
                  </a:cubicBezTo>
                  <a:cubicBezTo>
                    <a:pt x="2129" y="343"/>
                    <a:pt x="2134" y="348"/>
                    <a:pt x="2134" y="354"/>
                  </a:cubicBezTo>
                  <a:cubicBezTo>
                    <a:pt x="2134" y="360"/>
                    <a:pt x="2129" y="365"/>
                    <a:pt x="2123" y="365"/>
                  </a:cubicBezTo>
                  <a:cubicBezTo>
                    <a:pt x="2117" y="365"/>
                    <a:pt x="2112" y="360"/>
                    <a:pt x="2112" y="354"/>
                  </a:cubicBezTo>
                  <a:close/>
                  <a:moveTo>
                    <a:pt x="2112" y="247"/>
                  </a:moveTo>
                  <a:lnTo>
                    <a:pt x="2112" y="247"/>
                  </a:lnTo>
                  <a:cubicBezTo>
                    <a:pt x="2112" y="242"/>
                    <a:pt x="2117" y="237"/>
                    <a:pt x="2123" y="237"/>
                  </a:cubicBezTo>
                  <a:cubicBezTo>
                    <a:pt x="2129" y="237"/>
                    <a:pt x="2134" y="242"/>
                    <a:pt x="2134" y="247"/>
                  </a:cubicBezTo>
                  <a:cubicBezTo>
                    <a:pt x="2134" y="253"/>
                    <a:pt x="2129" y="258"/>
                    <a:pt x="2123" y="258"/>
                  </a:cubicBezTo>
                  <a:cubicBezTo>
                    <a:pt x="2117" y="258"/>
                    <a:pt x="2112" y="253"/>
                    <a:pt x="2112" y="247"/>
                  </a:cubicBezTo>
                  <a:close/>
                  <a:moveTo>
                    <a:pt x="2112" y="141"/>
                  </a:moveTo>
                  <a:lnTo>
                    <a:pt x="2112" y="141"/>
                  </a:lnTo>
                  <a:cubicBezTo>
                    <a:pt x="2112" y="135"/>
                    <a:pt x="2117" y="130"/>
                    <a:pt x="2123" y="130"/>
                  </a:cubicBezTo>
                  <a:cubicBezTo>
                    <a:pt x="2129" y="130"/>
                    <a:pt x="2134" y="135"/>
                    <a:pt x="2134" y="141"/>
                  </a:cubicBezTo>
                  <a:cubicBezTo>
                    <a:pt x="2134" y="147"/>
                    <a:pt x="2129" y="151"/>
                    <a:pt x="2123" y="151"/>
                  </a:cubicBezTo>
                  <a:cubicBezTo>
                    <a:pt x="2117" y="151"/>
                    <a:pt x="2112" y="147"/>
                    <a:pt x="2112" y="141"/>
                  </a:cubicBezTo>
                  <a:close/>
                  <a:moveTo>
                    <a:pt x="2112" y="34"/>
                  </a:moveTo>
                  <a:lnTo>
                    <a:pt x="2112" y="34"/>
                  </a:lnTo>
                  <a:cubicBezTo>
                    <a:pt x="2112" y="28"/>
                    <a:pt x="2117" y="23"/>
                    <a:pt x="2123" y="23"/>
                  </a:cubicBezTo>
                  <a:cubicBezTo>
                    <a:pt x="2129" y="23"/>
                    <a:pt x="2134" y="28"/>
                    <a:pt x="2134" y="34"/>
                  </a:cubicBezTo>
                  <a:cubicBezTo>
                    <a:pt x="2134" y="40"/>
                    <a:pt x="2129" y="45"/>
                    <a:pt x="2123" y="45"/>
                  </a:cubicBezTo>
                  <a:cubicBezTo>
                    <a:pt x="2117" y="45"/>
                    <a:pt x="2112" y="40"/>
                    <a:pt x="2112" y="34"/>
                  </a:cubicBezTo>
                  <a:close/>
                  <a:moveTo>
                    <a:pt x="2039" y="22"/>
                  </a:moveTo>
                  <a:lnTo>
                    <a:pt x="2039" y="22"/>
                  </a:lnTo>
                  <a:cubicBezTo>
                    <a:pt x="2033" y="22"/>
                    <a:pt x="2029" y="17"/>
                    <a:pt x="2029" y="11"/>
                  </a:cubicBezTo>
                  <a:cubicBezTo>
                    <a:pt x="2029" y="5"/>
                    <a:pt x="2033" y="0"/>
                    <a:pt x="2039" y="0"/>
                  </a:cubicBezTo>
                  <a:cubicBezTo>
                    <a:pt x="2045" y="0"/>
                    <a:pt x="2050" y="5"/>
                    <a:pt x="2050" y="11"/>
                  </a:cubicBezTo>
                  <a:cubicBezTo>
                    <a:pt x="2050" y="17"/>
                    <a:pt x="2045" y="22"/>
                    <a:pt x="2039" y="22"/>
                  </a:cubicBezTo>
                  <a:close/>
                  <a:moveTo>
                    <a:pt x="1933" y="22"/>
                  </a:moveTo>
                  <a:lnTo>
                    <a:pt x="1933" y="22"/>
                  </a:lnTo>
                  <a:cubicBezTo>
                    <a:pt x="1927" y="22"/>
                    <a:pt x="1922" y="17"/>
                    <a:pt x="1922" y="11"/>
                  </a:cubicBezTo>
                  <a:cubicBezTo>
                    <a:pt x="1922" y="5"/>
                    <a:pt x="1927" y="0"/>
                    <a:pt x="1933" y="0"/>
                  </a:cubicBezTo>
                  <a:cubicBezTo>
                    <a:pt x="1939" y="0"/>
                    <a:pt x="1943" y="5"/>
                    <a:pt x="1943" y="11"/>
                  </a:cubicBezTo>
                  <a:cubicBezTo>
                    <a:pt x="1943" y="17"/>
                    <a:pt x="1939" y="22"/>
                    <a:pt x="1933" y="22"/>
                  </a:cubicBezTo>
                  <a:close/>
                  <a:moveTo>
                    <a:pt x="1826" y="22"/>
                  </a:moveTo>
                  <a:lnTo>
                    <a:pt x="1826" y="22"/>
                  </a:lnTo>
                  <a:cubicBezTo>
                    <a:pt x="1820" y="22"/>
                    <a:pt x="1815" y="17"/>
                    <a:pt x="1815" y="11"/>
                  </a:cubicBezTo>
                  <a:cubicBezTo>
                    <a:pt x="1815" y="5"/>
                    <a:pt x="1820" y="0"/>
                    <a:pt x="1826" y="0"/>
                  </a:cubicBezTo>
                  <a:cubicBezTo>
                    <a:pt x="1832" y="0"/>
                    <a:pt x="1837" y="5"/>
                    <a:pt x="1837" y="11"/>
                  </a:cubicBezTo>
                  <a:cubicBezTo>
                    <a:pt x="1837" y="17"/>
                    <a:pt x="1832" y="22"/>
                    <a:pt x="1826" y="22"/>
                  </a:cubicBezTo>
                  <a:close/>
                  <a:moveTo>
                    <a:pt x="1719" y="22"/>
                  </a:moveTo>
                  <a:lnTo>
                    <a:pt x="1719" y="22"/>
                  </a:lnTo>
                  <a:cubicBezTo>
                    <a:pt x="1713" y="22"/>
                    <a:pt x="1709" y="17"/>
                    <a:pt x="1709" y="11"/>
                  </a:cubicBezTo>
                  <a:cubicBezTo>
                    <a:pt x="1709" y="5"/>
                    <a:pt x="1713" y="0"/>
                    <a:pt x="1719" y="0"/>
                  </a:cubicBezTo>
                  <a:cubicBezTo>
                    <a:pt x="1725" y="0"/>
                    <a:pt x="1730" y="5"/>
                    <a:pt x="1730" y="11"/>
                  </a:cubicBezTo>
                  <a:cubicBezTo>
                    <a:pt x="1730" y="17"/>
                    <a:pt x="1725" y="22"/>
                    <a:pt x="1719" y="22"/>
                  </a:cubicBezTo>
                  <a:close/>
                  <a:moveTo>
                    <a:pt x="1613" y="22"/>
                  </a:moveTo>
                  <a:lnTo>
                    <a:pt x="1613" y="22"/>
                  </a:lnTo>
                  <a:cubicBezTo>
                    <a:pt x="1607" y="22"/>
                    <a:pt x="1602" y="17"/>
                    <a:pt x="1602" y="11"/>
                  </a:cubicBezTo>
                  <a:cubicBezTo>
                    <a:pt x="1602" y="5"/>
                    <a:pt x="1607" y="0"/>
                    <a:pt x="1613" y="0"/>
                  </a:cubicBezTo>
                  <a:cubicBezTo>
                    <a:pt x="1619" y="0"/>
                    <a:pt x="1623" y="5"/>
                    <a:pt x="1623" y="11"/>
                  </a:cubicBezTo>
                  <a:cubicBezTo>
                    <a:pt x="1623" y="17"/>
                    <a:pt x="1619" y="22"/>
                    <a:pt x="1613" y="22"/>
                  </a:cubicBezTo>
                  <a:close/>
                  <a:moveTo>
                    <a:pt x="1506" y="22"/>
                  </a:moveTo>
                  <a:lnTo>
                    <a:pt x="1506" y="22"/>
                  </a:lnTo>
                  <a:cubicBezTo>
                    <a:pt x="1500" y="22"/>
                    <a:pt x="1495" y="17"/>
                    <a:pt x="1495" y="11"/>
                  </a:cubicBezTo>
                  <a:cubicBezTo>
                    <a:pt x="1495" y="5"/>
                    <a:pt x="1500" y="0"/>
                    <a:pt x="1506" y="0"/>
                  </a:cubicBezTo>
                  <a:cubicBezTo>
                    <a:pt x="1512" y="0"/>
                    <a:pt x="1517" y="5"/>
                    <a:pt x="1517" y="11"/>
                  </a:cubicBezTo>
                  <a:cubicBezTo>
                    <a:pt x="1517" y="17"/>
                    <a:pt x="1512" y="22"/>
                    <a:pt x="1506" y="22"/>
                  </a:cubicBezTo>
                  <a:close/>
                  <a:moveTo>
                    <a:pt x="1399" y="22"/>
                  </a:moveTo>
                  <a:lnTo>
                    <a:pt x="1399" y="22"/>
                  </a:lnTo>
                  <a:cubicBezTo>
                    <a:pt x="1393" y="22"/>
                    <a:pt x="1389" y="17"/>
                    <a:pt x="1389" y="11"/>
                  </a:cubicBezTo>
                  <a:cubicBezTo>
                    <a:pt x="1389" y="5"/>
                    <a:pt x="1393" y="0"/>
                    <a:pt x="1399" y="0"/>
                  </a:cubicBezTo>
                  <a:cubicBezTo>
                    <a:pt x="1405" y="0"/>
                    <a:pt x="1410" y="5"/>
                    <a:pt x="1410" y="11"/>
                  </a:cubicBezTo>
                  <a:cubicBezTo>
                    <a:pt x="1410" y="17"/>
                    <a:pt x="1405" y="22"/>
                    <a:pt x="1399" y="22"/>
                  </a:cubicBezTo>
                  <a:close/>
                  <a:moveTo>
                    <a:pt x="1293" y="22"/>
                  </a:moveTo>
                  <a:lnTo>
                    <a:pt x="1293" y="22"/>
                  </a:lnTo>
                  <a:cubicBezTo>
                    <a:pt x="1287" y="22"/>
                    <a:pt x="1282" y="17"/>
                    <a:pt x="1282" y="11"/>
                  </a:cubicBezTo>
                  <a:cubicBezTo>
                    <a:pt x="1282" y="5"/>
                    <a:pt x="1287" y="0"/>
                    <a:pt x="1293" y="0"/>
                  </a:cubicBezTo>
                  <a:cubicBezTo>
                    <a:pt x="1298" y="0"/>
                    <a:pt x="1303" y="5"/>
                    <a:pt x="1303" y="11"/>
                  </a:cubicBezTo>
                  <a:cubicBezTo>
                    <a:pt x="1303" y="17"/>
                    <a:pt x="1298" y="22"/>
                    <a:pt x="1293" y="22"/>
                  </a:cubicBezTo>
                  <a:close/>
                  <a:moveTo>
                    <a:pt x="1186" y="22"/>
                  </a:moveTo>
                  <a:lnTo>
                    <a:pt x="1186" y="22"/>
                  </a:lnTo>
                  <a:cubicBezTo>
                    <a:pt x="1180" y="22"/>
                    <a:pt x="1175" y="17"/>
                    <a:pt x="1175" y="11"/>
                  </a:cubicBezTo>
                  <a:cubicBezTo>
                    <a:pt x="1175" y="5"/>
                    <a:pt x="1180" y="0"/>
                    <a:pt x="1186" y="0"/>
                  </a:cubicBezTo>
                  <a:cubicBezTo>
                    <a:pt x="1192" y="0"/>
                    <a:pt x="1197" y="5"/>
                    <a:pt x="1197" y="11"/>
                  </a:cubicBezTo>
                  <a:cubicBezTo>
                    <a:pt x="1197" y="17"/>
                    <a:pt x="1192" y="22"/>
                    <a:pt x="1186" y="22"/>
                  </a:cubicBezTo>
                  <a:close/>
                  <a:moveTo>
                    <a:pt x="1079" y="22"/>
                  </a:moveTo>
                  <a:lnTo>
                    <a:pt x="1079" y="22"/>
                  </a:lnTo>
                  <a:cubicBezTo>
                    <a:pt x="1073" y="22"/>
                    <a:pt x="1068" y="17"/>
                    <a:pt x="1068" y="11"/>
                  </a:cubicBezTo>
                  <a:cubicBezTo>
                    <a:pt x="1068" y="5"/>
                    <a:pt x="1073" y="0"/>
                    <a:pt x="1079" y="0"/>
                  </a:cubicBezTo>
                  <a:cubicBezTo>
                    <a:pt x="1085" y="0"/>
                    <a:pt x="1090" y="5"/>
                    <a:pt x="1090" y="11"/>
                  </a:cubicBezTo>
                  <a:cubicBezTo>
                    <a:pt x="1090" y="17"/>
                    <a:pt x="1085" y="22"/>
                    <a:pt x="1079" y="22"/>
                  </a:cubicBezTo>
                  <a:close/>
                  <a:moveTo>
                    <a:pt x="972" y="22"/>
                  </a:moveTo>
                  <a:lnTo>
                    <a:pt x="972" y="22"/>
                  </a:lnTo>
                  <a:cubicBezTo>
                    <a:pt x="967" y="22"/>
                    <a:pt x="962" y="17"/>
                    <a:pt x="962" y="11"/>
                  </a:cubicBezTo>
                  <a:cubicBezTo>
                    <a:pt x="962" y="5"/>
                    <a:pt x="967" y="0"/>
                    <a:pt x="972" y="0"/>
                  </a:cubicBezTo>
                  <a:cubicBezTo>
                    <a:pt x="978" y="0"/>
                    <a:pt x="983" y="5"/>
                    <a:pt x="983" y="11"/>
                  </a:cubicBezTo>
                  <a:cubicBezTo>
                    <a:pt x="983" y="17"/>
                    <a:pt x="978" y="22"/>
                    <a:pt x="972" y="22"/>
                  </a:cubicBezTo>
                  <a:close/>
                  <a:moveTo>
                    <a:pt x="866" y="22"/>
                  </a:moveTo>
                  <a:lnTo>
                    <a:pt x="866" y="22"/>
                  </a:lnTo>
                  <a:cubicBezTo>
                    <a:pt x="860" y="22"/>
                    <a:pt x="855" y="17"/>
                    <a:pt x="855" y="11"/>
                  </a:cubicBezTo>
                  <a:cubicBezTo>
                    <a:pt x="855" y="5"/>
                    <a:pt x="860" y="0"/>
                    <a:pt x="866" y="0"/>
                  </a:cubicBezTo>
                  <a:cubicBezTo>
                    <a:pt x="872" y="0"/>
                    <a:pt x="876" y="5"/>
                    <a:pt x="876" y="11"/>
                  </a:cubicBezTo>
                  <a:cubicBezTo>
                    <a:pt x="876" y="17"/>
                    <a:pt x="872" y="22"/>
                    <a:pt x="866" y="22"/>
                  </a:cubicBezTo>
                  <a:close/>
                  <a:moveTo>
                    <a:pt x="759" y="22"/>
                  </a:moveTo>
                  <a:lnTo>
                    <a:pt x="759" y="22"/>
                  </a:lnTo>
                  <a:cubicBezTo>
                    <a:pt x="753" y="22"/>
                    <a:pt x="748" y="17"/>
                    <a:pt x="748" y="11"/>
                  </a:cubicBezTo>
                  <a:cubicBezTo>
                    <a:pt x="748" y="5"/>
                    <a:pt x="753" y="0"/>
                    <a:pt x="759" y="0"/>
                  </a:cubicBezTo>
                  <a:cubicBezTo>
                    <a:pt x="765" y="0"/>
                    <a:pt x="770" y="5"/>
                    <a:pt x="770" y="11"/>
                  </a:cubicBezTo>
                  <a:cubicBezTo>
                    <a:pt x="770" y="17"/>
                    <a:pt x="765" y="22"/>
                    <a:pt x="759" y="22"/>
                  </a:cubicBezTo>
                  <a:close/>
                  <a:moveTo>
                    <a:pt x="652" y="22"/>
                  </a:moveTo>
                  <a:lnTo>
                    <a:pt x="652" y="22"/>
                  </a:lnTo>
                  <a:cubicBezTo>
                    <a:pt x="647" y="22"/>
                    <a:pt x="642" y="17"/>
                    <a:pt x="642" y="11"/>
                  </a:cubicBezTo>
                  <a:cubicBezTo>
                    <a:pt x="642" y="5"/>
                    <a:pt x="647" y="0"/>
                    <a:pt x="652" y="0"/>
                  </a:cubicBezTo>
                  <a:cubicBezTo>
                    <a:pt x="658" y="0"/>
                    <a:pt x="663" y="5"/>
                    <a:pt x="663" y="11"/>
                  </a:cubicBezTo>
                  <a:cubicBezTo>
                    <a:pt x="663" y="17"/>
                    <a:pt x="658" y="22"/>
                    <a:pt x="652" y="22"/>
                  </a:cubicBezTo>
                  <a:close/>
                  <a:moveTo>
                    <a:pt x="546" y="22"/>
                  </a:moveTo>
                  <a:lnTo>
                    <a:pt x="546" y="22"/>
                  </a:lnTo>
                  <a:cubicBezTo>
                    <a:pt x="540" y="22"/>
                    <a:pt x="535" y="17"/>
                    <a:pt x="535" y="11"/>
                  </a:cubicBezTo>
                  <a:cubicBezTo>
                    <a:pt x="535" y="5"/>
                    <a:pt x="540" y="0"/>
                    <a:pt x="546" y="0"/>
                  </a:cubicBezTo>
                  <a:cubicBezTo>
                    <a:pt x="552" y="0"/>
                    <a:pt x="556" y="5"/>
                    <a:pt x="556" y="11"/>
                  </a:cubicBezTo>
                  <a:cubicBezTo>
                    <a:pt x="556" y="17"/>
                    <a:pt x="552" y="22"/>
                    <a:pt x="546" y="22"/>
                  </a:cubicBezTo>
                  <a:close/>
                  <a:moveTo>
                    <a:pt x="439" y="22"/>
                  </a:moveTo>
                  <a:lnTo>
                    <a:pt x="439" y="22"/>
                  </a:lnTo>
                  <a:cubicBezTo>
                    <a:pt x="433" y="22"/>
                    <a:pt x="428" y="17"/>
                    <a:pt x="428" y="11"/>
                  </a:cubicBezTo>
                  <a:cubicBezTo>
                    <a:pt x="428" y="5"/>
                    <a:pt x="433" y="0"/>
                    <a:pt x="439" y="0"/>
                  </a:cubicBezTo>
                  <a:cubicBezTo>
                    <a:pt x="445" y="0"/>
                    <a:pt x="450" y="5"/>
                    <a:pt x="450" y="11"/>
                  </a:cubicBezTo>
                  <a:cubicBezTo>
                    <a:pt x="450" y="17"/>
                    <a:pt x="445" y="22"/>
                    <a:pt x="439" y="22"/>
                  </a:cubicBezTo>
                  <a:close/>
                  <a:moveTo>
                    <a:pt x="332" y="22"/>
                  </a:moveTo>
                  <a:lnTo>
                    <a:pt x="332" y="22"/>
                  </a:lnTo>
                  <a:cubicBezTo>
                    <a:pt x="326" y="22"/>
                    <a:pt x="322" y="17"/>
                    <a:pt x="322" y="11"/>
                  </a:cubicBezTo>
                  <a:cubicBezTo>
                    <a:pt x="322" y="5"/>
                    <a:pt x="326" y="0"/>
                    <a:pt x="332" y="0"/>
                  </a:cubicBezTo>
                  <a:cubicBezTo>
                    <a:pt x="338" y="0"/>
                    <a:pt x="343" y="5"/>
                    <a:pt x="343" y="11"/>
                  </a:cubicBezTo>
                  <a:cubicBezTo>
                    <a:pt x="343" y="17"/>
                    <a:pt x="338" y="22"/>
                    <a:pt x="332" y="22"/>
                  </a:cubicBezTo>
                  <a:close/>
                  <a:moveTo>
                    <a:pt x="226" y="22"/>
                  </a:moveTo>
                  <a:lnTo>
                    <a:pt x="226" y="22"/>
                  </a:lnTo>
                  <a:cubicBezTo>
                    <a:pt x="220" y="22"/>
                    <a:pt x="215" y="17"/>
                    <a:pt x="215" y="11"/>
                  </a:cubicBezTo>
                  <a:cubicBezTo>
                    <a:pt x="215" y="5"/>
                    <a:pt x="220" y="0"/>
                    <a:pt x="226" y="0"/>
                  </a:cubicBezTo>
                  <a:cubicBezTo>
                    <a:pt x="232" y="0"/>
                    <a:pt x="236" y="5"/>
                    <a:pt x="236" y="11"/>
                  </a:cubicBezTo>
                  <a:cubicBezTo>
                    <a:pt x="236" y="17"/>
                    <a:pt x="232" y="22"/>
                    <a:pt x="226" y="22"/>
                  </a:cubicBezTo>
                  <a:close/>
                  <a:moveTo>
                    <a:pt x="119" y="22"/>
                  </a:moveTo>
                  <a:lnTo>
                    <a:pt x="119" y="22"/>
                  </a:lnTo>
                  <a:cubicBezTo>
                    <a:pt x="113" y="22"/>
                    <a:pt x="108" y="17"/>
                    <a:pt x="108" y="11"/>
                  </a:cubicBezTo>
                  <a:cubicBezTo>
                    <a:pt x="108" y="5"/>
                    <a:pt x="113" y="0"/>
                    <a:pt x="119" y="0"/>
                  </a:cubicBezTo>
                  <a:cubicBezTo>
                    <a:pt x="125" y="0"/>
                    <a:pt x="130" y="5"/>
                    <a:pt x="130" y="11"/>
                  </a:cubicBezTo>
                  <a:cubicBezTo>
                    <a:pt x="130" y="17"/>
                    <a:pt x="125" y="22"/>
                    <a:pt x="119" y="22"/>
                  </a:cubicBezTo>
                  <a:close/>
                  <a:moveTo>
                    <a:pt x="12" y="22"/>
                  </a:moveTo>
                  <a:lnTo>
                    <a:pt x="12" y="22"/>
                  </a:lnTo>
                  <a:cubicBezTo>
                    <a:pt x="6" y="22"/>
                    <a:pt x="2" y="17"/>
                    <a:pt x="2" y="11"/>
                  </a:cubicBezTo>
                  <a:cubicBezTo>
                    <a:pt x="2" y="5"/>
                    <a:pt x="6" y="0"/>
                    <a:pt x="12" y="0"/>
                  </a:cubicBezTo>
                  <a:cubicBezTo>
                    <a:pt x="18" y="0"/>
                    <a:pt x="23" y="5"/>
                    <a:pt x="23" y="11"/>
                  </a:cubicBezTo>
                  <a:cubicBezTo>
                    <a:pt x="23" y="17"/>
                    <a:pt x="18" y="22"/>
                    <a:pt x="12" y="22"/>
                  </a:cubicBezTo>
                  <a:close/>
                </a:path>
              </a:pathLst>
            </a:custGeom>
            <a:solidFill>
              <a:srgbClr val="00BCF2"/>
            </a:solidFill>
            <a:ln w="1588" cap="flat">
              <a:solidFill>
                <a:srgbClr val="00BCF2"/>
              </a:solidFill>
              <a:prstDash val="solid"/>
              <a:round/>
              <a:headEnd/>
              <a:tailEnd/>
            </a:ln>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defTabSz="874063">
                <a:defRPr/>
              </a:pPr>
              <a:endParaRPr lang="en-US" sz="1721">
                <a:solidFill>
                  <a:srgbClr val="FFFFFF"/>
                </a:solidFill>
              </a:endParaRPr>
            </a:p>
          </p:txBody>
        </p:sp>
        <p:sp>
          <p:nvSpPr>
            <p:cNvPr id="100" name="Rectangle 99"/>
            <p:cNvSpPr>
              <a:spLocks noChangeArrowheads="1"/>
            </p:cNvSpPr>
            <p:nvPr/>
          </p:nvSpPr>
          <p:spPr bwMode="auto">
            <a:xfrm>
              <a:off x="5559" y="1997"/>
              <a:ext cx="128" cy="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defTabSz="874063">
                <a:defRPr/>
              </a:pPr>
              <a:r>
                <a:rPr lang="en-US" altLang="en-US" sz="1339" b="1" dirty="0">
                  <a:solidFill>
                    <a:srgbClr val="00BCF2"/>
                  </a:solidFill>
                  <a:latin typeface="Segoe UI" panose="020B0502040204020203" pitchFamily="34" charset="0"/>
                  <a:cs typeface="Segoe UI" panose="020B0502040204020203" pitchFamily="34" charset="0"/>
                </a:rPr>
                <a:t>VNET</a:t>
              </a:r>
              <a:endParaRPr lang="en-US" altLang="en-US" sz="1339" b="1" dirty="0">
                <a:solidFill>
                  <a:srgbClr val="FFFFFF"/>
                </a:solidFill>
                <a:latin typeface="Segoe UI" panose="020B0502040204020203" pitchFamily="34" charset="0"/>
                <a:cs typeface="Segoe UI" panose="020B0502040204020203" pitchFamily="34" charset="0"/>
              </a:endParaRPr>
            </a:p>
          </p:txBody>
        </p:sp>
      </p:grpSp>
      <p:grpSp>
        <p:nvGrpSpPr>
          <p:cNvPr id="105" name="Group 104"/>
          <p:cNvGrpSpPr/>
          <p:nvPr/>
        </p:nvGrpSpPr>
        <p:grpSpPr>
          <a:xfrm>
            <a:off x="1750545" y="3903292"/>
            <a:ext cx="1813216" cy="1012889"/>
            <a:chOff x="6535565" y="4156939"/>
            <a:chExt cx="1897124" cy="1059763"/>
          </a:xfrm>
        </p:grpSpPr>
        <p:pic>
          <p:nvPicPr>
            <p:cNvPr id="106" name="Picture 105"/>
            <p:cNvPicPr>
              <a:picLocks noChangeAspect="1"/>
            </p:cNvPicPr>
            <p:nvPr/>
          </p:nvPicPr>
          <p:blipFill>
            <a:blip r:embed="rId5"/>
            <a:stretch>
              <a:fillRect/>
            </a:stretch>
          </p:blipFill>
          <p:spPr>
            <a:xfrm>
              <a:off x="6954276" y="4640457"/>
              <a:ext cx="778436" cy="576245"/>
            </a:xfrm>
            <a:prstGeom prst="rect">
              <a:avLst/>
            </a:prstGeom>
          </p:spPr>
        </p:pic>
        <p:sp>
          <p:nvSpPr>
            <p:cNvPr id="107" name="TextBox 106"/>
            <p:cNvSpPr txBox="1"/>
            <p:nvPr/>
          </p:nvSpPr>
          <p:spPr>
            <a:xfrm>
              <a:off x="6535565" y="4156939"/>
              <a:ext cx="1897124" cy="467954"/>
            </a:xfrm>
            <a:prstGeom prst="rect">
              <a:avLst/>
            </a:prstGeom>
            <a:noFill/>
          </p:spPr>
          <p:txBody>
            <a:bodyPr wrap="none" rtlCol="0">
              <a:spAutoFit/>
            </a:bodyPr>
            <a:lstStyle/>
            <a:p>
              <a:pPr defTabSz="874063">
                <a:defRPr/>
              </a:pPr>
              <a:r>
                <a:rPr lang="en-US" sz="2250" kern="0" dirty="0">
                  <a:solidFill>
                    <a:srgbClr val="FFFFFF"/>
                  </a:solidFill>
                  <a:latin typeface="Segoe UI"/>
                </a:rPr>
                <a:t>Scalable NIC</a:t>
              </a:r>
            </a:p>
          </p:txBody>
        </p:sp>
      </p:grpSp>
      <p:sp>
        <p:nvSpPr>
          <p:cNvPr id="131" name="TextBox 130"/>
          <p:cNvSpPr txBox="1"/>
          <p:nvPr/>
        </p:nvSpPr>
        <p:spPr>
          <a:xfrm>
            <a:off x="6891648" y="3090810"/>
            <a:ext cx="1071122" cy="1071091"/>
          </a:xfrm>
          <a:prstGeom prst="rect">
            <a:avLst/>
          </a:prstGeom>
          <a:noFill/>
        </p:spPr>
        <p:txBody>
          <a:bodyPr wrap="square" lIns="171380" tIns="137103" rIns="171380" bIns="137103" rtlCol="0">
            <a:spAutoFit/>
          </a:bodyPr>
          <a:lstStyle/>
          <a:p>
            <a:pPr defTabSz="874063">
              <a:lnSpc>
                <a:spcPct val="90000"/>
              </a:lnSpc>
              <a:spcAft>
                <a:spcPts val="562"/>
              </a:spcAft>
              <a:defRPr/>
            </a:pPr>
            <a:r>
              <a:rPr lang="en-US" sz="5622" kern="0" dirty="0">
                <a:solidFill>
                  <a:srgbClr val="FFFFFF"/>
                </a:solidFill>
                <a:latin typeface="Segoe UI"/>
              </a:rPr>
              <a:t>…</a:t>
            </a:r>
          </a:p>
        </p:txBody>
      </p:sp>
      <p:sp>
        <p:nvSpPr>
          <p:cNvPr id="138" name="Rounded Rectangle 137"/>
          <p:cNvSpPr/>
          <p:nvPr/>
        </p:nvSpPr>
        <p:spPr bwMode="auto">
          <a:xfrm>
            <a:off x="1375302" y="2855309"/>
            <a:ext cx="6283915" cy="2192992"/>
          </a:xfrm>
          <a:prstGeom prst="roundRect">
            <a:avLst/>
          </a:prstGeom>
          <a:noFill/>
          <a:ln>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87396" tIns="87396" rIns="32777" bIns="32777" rtlCol="0" anchor="t" anchorCtr="0"/>
          <a:lstStyle/>
          <a:p>
            <a:pPr algn="ctr" defTabSz="891135">
              <a:defRPr/>
            </a:pPr>
            <a:endParaRPr lang="en-US" sz="1530" kern="0" spc="-9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9" name="Group 138"/>
          <p:cNvGrpSpPr/>
          <p:nvPr/>
        </p:nvGrpSpPr>
        <p:grpSpPr>
          <a:xfrm>
            <a:off x="4272105" y="2941978"/>
            <a:ext cx="1513201" cy="849974"/>
            <a:chOff x="7165720" y="3276805"/>
            <a:chExt cx="1032266" cy="747678"/>
          </a:xfrm>
        </p:grpSpPr>
        <p:pic>
          <p:nvPicPr>
            <p:cNvPr id="140" name="Picture 13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TextBox 140"/>
            <p:cNvSpPr txBox="1"/>
            <p:nvPr/>
          </p:nvSpPr>
          <p:spPr>
            <a:xfrm>
              <a:off x="7793220" y="3276805"/>
              <a:ext cx="404766" cy="704028"/>
            </a:xfrm>
            <a:prstGeom prst="rect">
              <a:avLst/>
            </a:prstGeom>
            <a:noFill/>
          </p:spPr>
          <p:txBody>
            <a:bodyPr wrap="square" rtlCol="0">
              <a:spAutoFit/>
            </a:bodyPr>
            <a:lstStyle/>
            <a:p>
              <a:pPr defTabSz="874063">
                <a:defRPr/>
              </a:pPr>
              <a:r>
                <a:rPr lang="en-US" sz="2250" kern="0" dirty="0">
                  <a:solidFill>
                    <a:srgbClr val="FFFFFF"/>
                  </a:solidFill>
                  <a:latin typeface="Segoe UI"/>
                </a:rPr>
                <a:t>VM</a:t>
              </a:r>
            </a:p>
          </p:txBody>
        </p:sp>
      </p:grpSp>
      <p:grpSp>
        <p:nvGrpSpPr>
          <p:cNvPr id="142" name="Group 141"/>
          <p:cNvGrpSpPr/>
          <p:nvPr/>
        </p:nvGrpSpPr>
        <p:grpSpPr>
          <a:xfrm>
            <a:off x="2897423" y="2955093"/>
            <a:ext cx="1513201" cy="849974"/>
            <a:chOff x="7165720" y="3276805"/>
            <a:chExt cx="1032266" cy="747678"/>
          </a:xfrm>
        </p:grpSpPr>
        <p:pic>
          <p:nvPicPr>
            <p:cNvPr id="143" name="Picture 14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4" name="TextBox 143"/>
            <p:cNvSpPr txBox="1"/>
            <p:nvPr/>
          </p:nvSpPr>
          <p:spPr>
            <a:xfrm>
              <a:off x="7793220" y="3276805"/>
              <a:ext cx="404766" cy="704028"/>
            </a:xfrm>
            <a:prstGeom prst="rect">
              <a:avLst/>
            </a:prstGeom>
            <a:noFill/>
          </p:spPr>
          <p:txBody>
            <a:bodyPr wrap="square" rtlCol="0">
              <a:spAutoFit/>
            </a:bodyPr>
            <a:lstStyle/>
            <a:p>
              <a:pPr defTabSz="874063">
                <a:defRPr/>
              </a:pPr>
              <a:r>
                <a:rPr lang="en-US" sz="2250" kern="0" dirty="0">
                  <a:solidFill>
                    <a:srgbClr val="FFFFFF"/>
                  </a:solidFill>
                  <a:latin typeface="Segoe UI"/>
                </a:rPr>
                <a:t>VM</a:t>
              </a:r>
            </a:p>
          </p:txBody>
        </p:sp>
      </p:grpSp>
      <p:grpSp>
        <p:nvGrpSpPr>
          <p:cNvPr id="145" name="Group 144"/>
          <p:cNvGrpSpPr/>
          <p:nvPr/>
        </p:nvGrpSpPr>
        <p:grpSpPr>
          <a:xfrm>
            <a:off x="5682873" y="2944901"/>
            <a:ext cx="1513201" cy="849974"/>
            <a:chOff x="7165720" y="3276805"/>
            <a:chExt cx="1032266" cy="747678"/>
          </a:xfrm>
        </p:grpSpPr>
        <p:pic>
          <p:nvPicPr>
            <p:cNvPr id="146" name="Picture 14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 name="TextBox 146"/>
            <p:cNvSpPr txBox="1"/>
            <p:nvPr/>
          </p:nvSpPr>
          <p:spPr>
            <a:xfrm>
              <a:off x="7793220" y="3276805"/>
              <a:ext cx="404766" cy="704028"/>
            </a:xfrm>
            <a:prstGeom prst="rect">
              <a:avLst/>
            </a:prstGeom>
            <a:noFill/>
          </p:spPr>
          <p:txBody>
            <a:bodyPr wrap="square" rtlCol="0">
              <a:spAutoFit/>
            </a:bodyPr>
            <a:lstStyle/>
            <a:p>
              <a:pPr defTabSz="874063">
                <a:defRPr/>
              </a:pPr>
              <a:r>
                <a:rPr lang="en-US" sz="2250" kern="0" dirty="0">
                  <a:solidFill>
                    <a:srgbClr val="FFFFFF"/>
                  </a:solidFill>
                  <a:latin typeface="Segoe UI"/>
                </a:rPr>
                <a:t>VM</a:t>
              </a:r>
            </a:p>
          </p:txBody>
        </p:sp>
      </p:grpSp>
      <p:sp>
        <p:nvSpPr>
          <p:cNvPr id="4" name="Rectangle 3"/>
          <p:cNvSpPr/>
          <p:nvPr/>
        </p:nvSpPr>
        <p:spPr>
          <a:xfrm>
            <a:off x="1585416" y="2477537"/>
            <a:ext cx="1210010" cy="388405"/>
          </a:xfrm>
          <a:prstGeom prst="rect">
            <a:avLst/>
          </a:prstGeom>
        </p:spPr>
        <p:txBody>
          <a:bodyPr wrap="none">
            <a:spAutoFit/>
          </a:bodyPr>
          <a:lstStyle/>
          <a:p>
            <a:pPr defTabSz="874063">
              <a:defRPr/>
            </a:pPr>
            <a:r>
              <a:rPr lang="en-US" sz="1875" b="1" kern="0" dirty="0">
                <a:solidFill>
                  <a:srgbClr val="FFC000"/>
                </a:solidFill>
                <a:latin typeface="Segoe UI"/>
              </a:rPr>
              <a:t>Scale Set</a:t>
            </a:r>
          </a:p>
        </p:txBody>
      </p:sp>
      <p:sp>
        <p:nvSpPr>
          <p:cNvPr id="6" name="Rectangle 5"/>
          <p:cNvSpPr/>
          <p:nvPr/>
        </p:nvSpPr>
        <p:spPr>
          <a:xfrm>
            <a:off x="5881279" y="4493159"/>
            <a:ext cx="1549375" cy="447256"/>
          </a:xfrm>
          <a:prstGeom prst="rect">
            <a:avLst/>
          </a:prstGeom>
        </p:spPr>
        <p:txBody>
          <a:bodyPr wrap="none">
            <a:spAutoFit/>
          </a:bodyPr>
          <a:lstStyle/>
          <a:p>
            <a:pPr defTabSz="874063">
              <a:defRPr/>
            </a:pPr>
            <a:r>
              <a:rPr lang="en-US" sz="2250" kern="0" dirty="0">
                <a:solidFill>
                  <a:srgbClr val="FFFFFF"/>
                </a:solidFill>
                <a:latin typeface="Segoe UI"/>
              </a:rPr>
              <a:t>Extensions</a:t>
            </a:r>
          </a:p>
        </p:txBody>
      </p:sp>
      <p:sp>
        <p:nvSpPr>
          <p:cNvPr id="8" name="Rectangle 7"/>
          <p:cNvSpPr/>
          <p:nvPr/>
        </p:nvSpPr>
        <p:spPr>
          <a:xfrm>
            <a:off x="644643" y="6161293"/>
            <a:ext cx="6359660" cy="364213"/>
          </a:xfrm>
          <a:prstGeom prst="rect">
            <a:avLst/>
          </a:prstGeom>
        </p:spPr>
        <p:txBody>
          <a:bodyPr wrap="none">
            <a:spAutoFit/>
          </a:bodyPr>
          <a:lstStyle/>
          <a:p>
            <a:pPr defTabSz="932470">
              <a:defRPr/>
            </a:pPr>
            <a:r>
              <a:rPr lang="en-US" sz="1721" kern="0" dirty="0">
                <a:solidFill>
                  <a:srgbClr val="FFFFFF"/>
                </a:solidFill>
                <a:latin typeface="Segoe UI" panose="020B0502040204020203" pitchFamily="34" charset="0"/>
                <a:hlinkClick r:id="rId6"/>
              </a:rPr>
              <a:t>https://github.com/Azure/azure-quickstart-templates</a:t>
            </a:r>
            <a:r>
              <a:rPr lang="en-US" sz="1721" kern="0" dirty="0">
                <a:solidFill>
                  <a:srgbClr val="7030A0"/>
                </a:solidFill>
                <a:latin typeface="Segoe UI" panose="020B0502040204020203" pitchFamily="34" charset="0"/>
              </a:rPr>
              <a:t> - *</a:t>
            </a:r>
            <a:r>
              <a:rPr lang="en-US" sz="1721" kern="0" dirty="0" err="1">
                <a:solidFill>
                  <a:srgbClr val="7030A0"/>
                </a:solidFill>
                <a:latin typeface="Segoe UI" panose="020B0502040204020203" pitchFamily="34" charset="0"/>
              </a:rPr>
              <a:t>vmss</a:t>
            </a:r>
            <a:r>
              <a:rPr lang="en-US" sz="1721" kern="0" dirty="0">
                <a:solidFill>
                  <a:srgbClr val="7030A0"/>
                </a:solidFill>
                <a:latin typeface="Segoe UI" panose="020B0502040204020203" pitchFamily="34" charset="0"/>
              </a:rPr>
              <a:t>*</a:t>
            </a:r>
            <a:endParaRPr lang="en-US" sz="1721" kern="0" dirty="0">
              <a:solidFill>
                <a:srgbClr val="7030A0"/>
              </a:solidFill>
              <a:latin typeface="Segoe UI"/>
            </a:endParaRPr>
          </a:p>
        </p:txBody>
      </p:sp>
      <p:pic>
        <p:nvPicPr>
          <p:cNvPr id="10" name="Picture 9"/>
          <p:cNvPicPr>
            <a:picLocks noChangeAspect="1"/>
          </p:cNvPicPr>
          <p:nvPr/>
        </p:nvPicPr>
        <p:blipFill>
          <a:blip r:embed="rId7"/>
          <a:stretch>
            <a:fillRect/>
          </a:stretch>
        </p:blipFill>
        <p:spPr>
          <a:xfrm>
            <a:off x="5735087" y="1590914"/>
            <a:ext cx="6429452" cy="3787744"/>
          </a:xfrm>
          <a:prstGeom prst="rect">
            <a:avLst/>
          </a:prstGeom>
          <a:ln>
            <a:noFill/>
          </a:ln>
          <a:effectLst>
            <a:outerShdw blurRad="292100" dist="139700" dir="2700000" algn="tl" rotWithShape="0">
              <a:srgbClr val="333333">
                <a:alpha val="65000"/>
              </a:srgbClr>
            </a:outerShdw>
          </a:effectLst>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1019085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8" grpId="0" animBg="1"/>
      <p:bldP spid="4" grpId="0"/>
      <p:bldP spid="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9" y="1212850"/>
            <a:ext cx="5698876" cy="5433795"/>
          </a:xfrm>
        </p:spPr>
        <p:txBody>
          <a:bodyPr/>
          <a:lstStyle/>
          <a:p>
            <a:pPr marL="0" indent="0">
              <a:buNone/>
            </a:pPr>
            <a:r>
              <a:rPr lang="en-US"/>
              <a:t>Wide range of </a:t>
            </a:r>
            <a:r>
              <a:rPr lang="en-US" err="1"/>
              <a:t>Quickstart</a:t>
            </a:r>
            <a:r>
              <a:rPr lang="en-US"/>
              <a:t> templates</a:t>
            </a:r>
          </a:p>
          <a:p>
            <a:pPr marL="342900" lvl="1" indent="-342900" defTabSz="932594"/>
            <a:r>
              <a:rPr lang="en-US" sz="2000"/>
              <a:t>Indexed on Azure.com</a:t>
            </a:r>
          </a:p>
          <a:p>
            <a:pPr marL="342900" lvl="1" indent="-342900" defTabSz="932594"/>
            <a:r>
              <a:rPr lang="en-US" sz="2000" err="1"/>
              <a:t>Github</a:t>
            </a:r>
            <a:r>
              <a:rPr lang="en-US" sz="2000"/>
              <a:t> Repo - </a:t>
            </a:r>
            <a:r>
              <a:rPr lang="en-US" sz="2000">
                <a:gradFill>
                  <a:gsLst>
                    <a:gs pos="1250">
                      <a:schemeClr val="tx1"/>
                    </a:gs>
                    <a:gs pos="100000">
                      <a:schemeClr val="tx1"/>
                    </a:gs>
                  </a:gsLst>
                  <a:lin ang="5400000" scaled="0"/>
                </a:gradFill>
                <a:latin typeface="+mn-lt"/>
                <a:hlinkClick r:id="rId3"/>
              </a:rPr>
              <a:t>https://github.com/Azure/azure-quickstart-templates</a:t>
            </a:r>
            <a:r>
              <a:rPr lang="en-US" sz="2000">
                <a:gradFill>
                  <a:gsLst>
                    <a:gs pos="1250">
                      <a:schemeClr val="tx1"/>
                    </a:gs>
                    <a:gs pos="100000">
                      <a:schemeClr val="tx1"/>
                    </a:gs>
                  </a:gsLst>
                  <a:lin ang="5400000" scaled="0"/>
                </a:gradFill>
                <a:latin typeface="+mn-lt"/>
              </a:rPr>
              <a:t> </a:t>
            </a:r>
          </a:p>
          <a:p>
            <a:pPr marL="342900" lvl="1" indent="-342900" defTabSz="932594"/>
            <a:r>
              <a:rPr lang="en-US" sz="2000"/>
              <a:t>Community and Microsoft contributed</a:t>
            </a:r>
          </a:p>
          <a:p>
            <a:pPr marL="0" indent="0">
              <a:buNone/>
            </a:pPr>
            <a:r>
              <a:rPr lang="en-US"/>
              <a:t>Integration of IaaS with Azure Services</a:t>
            </a:r>
          </a:p>
          <a:p>
            <a:pPr marL="0" indent="0">
              <a:buNone/>
            </a:pPr>
            <a:r>
              <a:rPr lang="en-US"/>
              <a:t>Azure Resource Explorer</a:t>
            </a:r>
          </a:p>
          <a:p>
            <a:pPr marL="349677" lvl="1" indent="-349677"/>
            <a:r>
              <a:rPr lang="en-US" sz="2000">
                <a:hlinkClick r:id="rId4"/>
              </a:rPr>
              <a:t>https://resources.azure.com/</a:t>
            </a:r>
            <a:endParaRPr lang="en-US" sz="2000">
              <a:solidFill>
                <a:schemeClr val="tx1"/>
              </a:solidFill>
            </a:endParaRPr>
          </a:p>
          <a:p>
            <a:pPr marL="0" indent="0">
              <a:buNone/>
            </a:pPr>
            <a:endParaRPr lang="en-US"/>
          </a:p>
        </p:txBody>
      </p:sp>
      <p:sp>
        <p:nvSpPr>
          <p:cNvPr id="3" name="Title 2"/>
          <p:cNvSpPr>
            <a:spLocks noGrp="1"/>
          </p:cNvSpPr>
          <p:nvPr>
            <p:ph type="title"/>
          </p:nvPr>
        </p:nvSpPr>
        <p:spPr/>
        <p:txBody>
          <a:bodyPr/>
          <a:lstStyle/>
          <a:p>
            <a:r>
              <a:rPr lang="en-US" sz="4800"/>
              <a:t>Getting started with Azure templates </a:t>
            </a:r>
          </a:p>
        </p:txBody>
      </p:sp>
      <p:pic>
        <p:nvPicPr>
          <p:cNvPr id="5" name="Picture 4"/>
          <p:cNvPicPr>
            <a:picLocks noChangeAspect="1"/>
          </p:cNvPicPr>
          <p:nvPr/>
        </p:nvPicPr>
        <p:blipFill rotWithShape="1">
          <a:blip r:embed="rId5" cstate="screen">
            <a:extLst>
              <a:ext uri="{28A0092B-C50C-407E-A947-70E740481C1C}">
                <a14:useLocalDpi xmlns:a14="http://schemas.microsoft.com/office/drawing/2010/main"/>
              </a:ext>
            </a:extLst>
          </a:blip>
          <a:srcRect b="29796"/>
          <a:stretch/>
        </p:blipFill>
        <p:spPr>
          <a:xfrm>
            <a:off x="6522244" y="1439862"/>
            <a:ext cx="4914928" cy="5034501"/>
          </a:xfrm>
          <a:prstGeom prst="rect">
            <a:avLst/>
          </a:prstGeom>
        </p:spPr>
      </p:pic>
    </p:spTree>
    <p:extLst>
      <p:ext uri="{BB962C8B-B14F-4D97-AF65-F5344CB8AC3E}">
        <p14:creationId xmlns:p14="http://schemas.microsoft.com/office/powerpoint/2010/main" val="2823595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rot="16200000">
            <a:off x="1616487" y="2053499"/>
            <a:ext cx="1314907" cy="741905"/>
          </a:xfrm>
          <a:prstGeom prst="roundRect">
            <a:avLst/>
          </a:prstGeom>
          <a:solidFill>
            <a:srgbClr val="D83B01"/>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t" anchorCtr="0" compatLnSpc="1">
            <a:prstTxWarp prst="textNoShape">
              <a:avLst/>
            </a:prstTxWarp>
          </a:bodyPr>
          <a:lstStyle/>
          <a:p>
            <a:pPr lvl="0" algn="ctr"/>
            <a:r>
              <a:rPr lang="en-US" sz="2100">
                <a:solidFill>
                  <a:schemeClr val="bg1"/>
                </a:solidFill>
                <a:latin typeface="Segoe UI Semibold" panose="020B0702040204020203" pitchFamily="34" charset="0"/>
                <a:cs typeface="Segoe UI Semibold" panose="020B0702040204020203" pitchFamily="34" charset="0"/>
              </a:rPr>
              <a:t>Cost</a:t>
            </a:r>
          </a:p>
        </p:txBody>
      </p:sp>
      <p:sp>
        <p:nvSpPr>
          <p:cNvPr id="2" name="Title 1"/>
          <p:cNvSpPr>
            <a:spLocks noGrp="1"/>
          </p:cNvSpPr>
          <p:nvPr>
            <p:ph type="title"/>
          </p:nvPr>
        </p:nvSpPr>
        <p:spPr/>
        <p:txBody>
          <a:bodyPr/>
          <a:lstStyle/>
          <a:p>
            <a:r>
              <a:rPr lang="en-US" sz="4800" dirty="0"/>
              <a:t>IaaS Considerations</a:t>
            </a:r>
          </a:p>
        </p:txBody>
      </p:sp>
      <p:pic>
        <p:nvPicPr>
          <p:cNvPr id="5" name="Picture 4"/>
          <p:cNvPicPr>
            <a:picLocks noChangeAspect="1"/>
          </p:cNvPicPr>
          <p:nvPr/>
        </p:nvPicPr>
        <p:blipFill rotWithShape="1">
          <a:blip r:embed="rId3" cstate="screen">
            <a:biLevel thresh="25000"/>
            <a:extLst>
              <a:ext uri="{28A0092B-C50C-407E-A947-70E740481C1C}">
                <a14:useLocalDpi xmlns:a14="http://schemas.microsoft.com/office/drawing/2010/main"/>
              </a:ext>
            </a:extLst>
          </a:blip>
          <a:srcRect l="21182" r="20569" b="32708"/>
          <a:stretch/>
        </p:blipFill>
        <p:spPr>
          <a:xfrm>
            <a:off x="9733645" y="1047517"/>
            <a:ext cx="942894" cy="685741"/>
          </a:xfrm>
          <a:prstGeom prst="rect">
            <a:avLst/>
          </a:prstGeom>
        </p:spPr>
      </p:pic>
      <p:sp>
        <p:nvSpPr>
          <p:cNvPr id="7" name="Rounded Rectangle 6"/>
          <p:cNvSpPr/>
          <p:nvPr/>
        </p:nvSpPr>
        <p:spPr bwMode="auto">
          <a:xfrm>
            <a:off x="2360148" y="1765159"/>
            <a:ext cx="7771739" cy="1316747"/>
          </a:xfrm>
          <a:prstGeom prst="roundRect">
            <a:avLst/>
          </a:prstGeom>
          <a:solidFill>
            <a:schemeClr val="tx1">
              <a:lumMod val="9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ctr" anchorCtr="0" compatLnSpc="1">
            <a:prstTxWarp prst="textNoShape">
              <a:avLst/>
            </a:prstTxWarp>
          </a:bodyPr>
          <a:lstStyle/>
          <a:p>
            <a:pPr marL="257141" indent="-257141">
              <a:buFont typeface="Arial" panose="020B0604020202020204" pitchFamily="34" charset="0"/>
              <a:buChar char="•"/>
            </a:pPr>
            <a:r>
              <a:rPr lang="en-US" dirty="0">
                <a:solidFill>
                  <a:schemeClr val="bg1"/>
                </a:solidFill>
                <a:latin typeface="+mj-lt"/>
              </a:rPr>
              <a:t>Size and number of Virtual Machines</a:t>
            </a:r>
          </a:p>
          <a:p>
            <a:pPr marL="257141" indent="-257141">
              <a:buFont typeface="Arial" panose="020B0604020202020204" pitchFamily="34" charset="0"/>
              <a:buChar char="•"/>
            </a:pPr>
            <a:r>
              <a:rPr lang="en-US" dirty="0">
                <a:solidFill>
                  <a:schemeClr val="bg1"/>
                </a:solidFill>
                <a:latin typeface="+mj-lt"/>
              </a:rPr>
              <a:t>Azure Virtual Machine storage requirements</a:t>
            </a:r>
          </a:p>
          <a:p>
            <a:pPr marL="257141" indent="-257141">
              <a:buFont typeface="Arial" panose="020B0604020202020204" pitchFamily="34" charset="0"/>
              <a:buChar char="•"/>
            </a:pPr>
            <a:r>
              <a:rPr lang="en-US" dirty="0">
                <a:solidFill>
                  <a:schemeClr val="bg1"/>
                </a:solidFill>
                <a:latin typeface="+mj-lt"/>
              </a:rPr>
              <a:t>Azure Virtual Network and VPN services</a:t>
            </a:r>
          </a:p>
          <a:p>
            <a:pPr marL="257141" indent="-257141">
              <a:buFont typeface="Arial" panose="020B0604020202020204" pitchFamily="34" charset="0"/>
              <a:buChar char="•"/>
            </a:pPr>
            <a:r>
              <a:rPr lang="en-US" dirty="0">
                <a:solidFill>
                  <a:schemeClr val="bg1"/>
                </a:solidFill>
                <a:latin typeface="+mj-lt"/>
              </a:rPr>
              <a:t>Network traffic out of Azure</a:t>
            </a:r>
          </a:p>
        </p:txBody>
      </p:sp>
      <p:sp>
        <p:nvSpPr>
          <p:cNvPr id="9" name="Rounded Rectangle 8"/>
          <p:cNvSpPr/>
          <p:nvPr/>
        </p:nvSpPr>
        <p:spPr bwMode="auto">
          <a:xfrm rot="16200000">
            <a:off x="1622439" y="3442733"/>
            <a:ext cx="1314907" cy="741905"/>
          </a:xfrm>
          <a:prstGeom prst="roundRect">
            <a:avLst/>
          </a:prstGeom>
          <a:solidFill>
            <a:schemeClr val="accent3"/>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t" anchorCtr="0" compatLnSpc="1">
            <a:prstTxWarp prst="textNoShape">
              <a:avLst/>
            </a:prstTxWarp>
          </a:bodyPr>
          <a:lstStyle/>
          <a:p>
            <a:pPr lvl="0" algn="ctr"/>
            <a:r>
              <a:rPr lang="en-US" sz="2100">
                <a:solidFill>
                  <a:schemeClr val="bg1"/>
                </a:solidFill>
                <a:latin typeface="Segoe UI Semibold" panose="020B0702040204020203" pitchFamily="34" charset="0"/>
                <a:cs typeface="Segoe UI Semibold" panose="020B0702040204020203" pitchFamily="34" charset="0"/>
              </a:rPr>
              <a:t>Network</a:t>
            </a:r>
          </a:p>
        </p:txBody>
      </p:sp>
      <p:sp>
        <p:nvSpPr>
          <p:cNvPr id="10" name="Rounded Rectangle 9"/>
          <p:cNvSpPr/>
          <p:nvPr/>
        </p:nvSpPr>
        <p:spPr bwMode="auto">
          <a:xfrm>
            <a:off x="2366100" y="3154392"/>
            <a:ext cx="7771739" cy="1316747"/>
          </a:xfrm>
          <a:prstGeom prst="roundRect">
            <a:avLst/>
          </a:prstGeom>
          <a:solidFill>
            <a:schemeClr val="tx1">
              <a:lumMod val="9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ctr" anchorCtr="0" compatLnSpc="1">
            <a:prstTxWarp prst="textNoShape">
              <a:avLst/>
            </a:prstTxWarp>
          </a:bodyPr>
          <a:lstStyle/>
          <a:p>
            <a:pPr marL="257141" indent="-257141">
              <a:buFont typeface="Arial" panose="020B0604020202020204" pitchFamily="34" charset="0"/>
              <a:buChar char="•"/>
            </a:pPr>
            <a:r>
              <a:rPr lang="en-US">
                <a:solidFill>
                  <a:schemeClr val="bg1"/>
                </a:solidFill>
                <a:latin typeface="+mj-lt"/>
              </a:rPr>
              <a:t>Decide on name resolution: Azure-based or own DNS solution</a:t>
            </a:r>
          </a:p>
          <a:p>
            <a:pPr marL="257141" indent="-257141">
              <a:buFont typeface="Arial" panose="020B0604020202020204" pitchFamily="34" charset="0"/>
              <a:buChar char="•"/>
            </a:pPr>
            <a:r>
              <a:rPr lang="en-US">
                <a:solidFill>
                  <a:schemeClr val="bg1"/>
                </a:solidFill>
                <a:latin typeface="+mj-lt"/>
              </a:rPr>
              <a:t>Virtual Network overlay for enhanced security and isolation</a:t>
            </a:r>
          </a:p>
          <a:p>
            <a:pPr marL="257141" indent="-257141">
              <a:buFont typeface="Arial" panose="020B0604020202020204" pitchFamily="34" charset="0"/>
              <a:buChar char="•"/>
            </a:pPr>
            <a:r>
              <a:rPr lang="en-US">
                <a:solidFill>
                  <a:schemeClr val="bg1"/>
                </a:solidFill>
                <a:latin typeface="+mj-lt"/>
              </a:rPr>
              <a:t>Extension of the on-premises network to the cloud</a:t>
            </a:r>
          </a:p>
          <a:p>
            <a:pPr marL="257141" indent="-257141">
              <a:buFont typeface="Arial" panose="020B0604020202020204" pitchFamily="34" charset="0"/>
              <a:buChar char="•"/>
            </a:pPr>
            <a:r>
              <a:rPr lang="en-US">
                <a:solidFill>
                  <a:schemeClr val="bg1"/>
                </a:solidFill>
                <a:latin typeface="+mj-lt"/>
              </a:rPr>
              <a:t>Number of persistent private IP addresses required</a:t>
            </a:r>
          </a:p>
        </p:txBody>
      </p:sp>
      <p:sp>
        <p:nvSpPr>
          <p:cNvPr id="11" name="Rounded Rectangle 10"/>
          <p:cNvSpPr/>
          <p:nvPr/>
        </p:nvSpPr>
        <p:spPr bwMode="auto">
          <a:xfrm rot="16200000">
            <a:off x="1593866" y="4865083"/>
            <a:ext cx="1314907" cy="741905"/>
          </a:xfrm>
          <a:prstGeom prst="roundRect">
            <a:avLst/>
          </a:prstGeom>
          <a:solidFill>
            <a:schemeClr val="accent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t" anchorCtr="0" compatLnSpc="1">
            <a:prstTxWarp prst="textNoShape">
              <a:avLst/>
            </a:prstTxWarp>
          </a:bodyPr>
          <a:lstStyle/>
          <a:p>
            <a:pPr lvl="0" algn="ctr"/>
            <a:r>
              <a:rPr lang="en-US" sz="2100">
                <a:solidFill>
                  <a:schemeClr val="bg1"/>
                </a:solidFill>
                <a:latin typeface="Segoe UI Semibold" panose="020B0702040204020203" pitchFamily="34" charset="0"/>
                <a:cs typeface="Segoe UI Semibold" panose="020B0702040204020203" pitchFamily="34" charset="0"/>
              </a:rPr>
              <a:t>Limits</a:t>
            </a:r>
          </a:p>
        </p:txBody>
      </p:sp>
      <p:sp>
        <p:nvSpPr>
          <p:cNvPr id="12" name="Rounded Rectangle 11"/>
          <p:cNvSpPr/>
          <p:nvPr/>
        </p:nvSpPr>
        <p:spPr bwMode="auto">
          <a:xfrm>
            <a:off x="2337528" y="4576743"/>
            <a:ext cx="7771739" cy="1316747"/>
          </a:xfrm>
          <a:prstGeom prst="roundRect">
            <a:avLst/>
          </a:prstGeom>
          <a:solidFill>
            <a:schemeClr val="tx1">
              <a:lumMod val="9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5" rIns="0" bIns="34975" numCol="1" rtlCol="0" anchor="ctr" anchorCtr="0" compatLnSpc="1">
            <a:prstTxWarp prst="textNoShape">
              <a:avLst/>
            </a:prstTxWarp>
          </a:bodyPr>
          <a:lstStyle/>
          <a:p>
            <a:pPr marL="257141" indent="-257141">
              <a:buFont typeface="Arial" panose="020B0604020202020204" pitchFamily="34" charset="0"/>
              <a:buChar char="•"/>
            </a:pPr>
            <a:r>
              <a:rPr lang="en-US" dirty="0" err="1">
                <a:solidFill>
                  <a:schemeClr val="bg1"/>
                </a:solidFill>
                <a:latin typeface="+mj-lt"/>
              </a:rPr>
              <a:t>AutoScaling</a:t>
            </a:r>
            <a:r>
              <a:rPr lang="en-US" dirty="0">
                <a:solidFill>
                  <a:schemeClr val="bg1"/>
                </a:solidFill>
                <a:latin typeface="+mj-lt"/>
              </a:rPr>
              <a:t> for increased or decreased load is different than PaaS</a:t>
            </a:r>
          </a:p>
          <a:p>
            <a:pPr marL="257141" indent="-257141">
              <a:buFont typeface="Arial" panose="020B0604020202020204" pitchFamily="34" charset="0"/>
              <a:buChar char="•"/>
            </a:pPr>
            <a:r>
              <a:rPr lang="en-US" dirty="0">
                <a:solidFill>
                  <a:schemeClr val="bg1"/>
                </a:solidFill>
                <a:latin typeface="+mj-lt"/>
              </a:rPr>
              <a:t>VMs are not load balanced by default</a:t>
            </a:r>
          </a:p>
          <a:p>
            <a:pPr marL="257141" indent="-257141">
              <a:buFont typeface="Arial" panose="020B0604020202020204" pitchFamily="34" charset="0"/>
              <a:buChar char="•"/>
            </a:pPr>
            <a:r>
              <a:rPr lang="en-US" dirty="0">
                <a:solidFill>
                  <a:schemeClr val="bg1"/>
                </a:solidFill>
                <a:latin typeface="+mj-lt"/>
              </a:rPr>
              <a:t>VM density per VNet (currently 4096)</a:t>
            </a:r>
          </a:p>
          <a:p>
            <a:pPr marL="257141" indent="-257141">
              <a:buFont typeface="Arial" panose="020B0604020202020204" pitchFamily="34" charset="0"/>
              <a:buChar char="•"/>
            </a:pPr>
            <a:r>
              <a:rPr lang="en-US" dirty="0">
                <a:solidFill>
                  <a:schemeClr val="bg1"/>
                </a:solidFill>
                <a:latin typeface="+mj-lt"/>
              </a:rPr>
              <a:t>Concurrent TCP connections for VMs roles (500K)</a:t>
            </a:r>
          </a:p>
        </p:txBody>
      </p:sp>
    </p:spTree>
    <p:extLst>
      <p:ext uri="{BB962C8B-B14F-4D97-AF65-F5344CB8AC3E}">
        <p14:creationId xmlns:p14="http://schemas.microsoft.com/office/powerpoint/2010/main" val="1006382951"/>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Template execution</a:t>
            </a:r>
          </a:p>
        </p:txBody>
      </p:sp>
      <p:sp>
        <p:nvSpPr>
          <p:cNvPr id="26" name="Oval 25"/>
          <p:cNvSpPr/>
          <p:nvPr/>
        </p:nvSpPr>
        <p:spPr>
          <a:xfrm>
            <a:off x="1821545" y="4233018"/>
            <a:ext cx="912650" cy="837353"/>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400">
                <a:solidFill>
                  <a:srgbClr val="FFFFFF"/>
                </a:solidFill>
              </a:rPr>
              <a:t>Start</a:t>
            </a:r>
          </a:p>
        </p:txBody>
      </p:sp>
      <p:sp>
        <p:nvSpPr>
          <p:cNvPr id="27" name="Oval 26"/>
          <p:cNvSpPr/>
          <p:nvPr/>
        </p:nvSpPr>
        <p:spPr>
          <a:xfrm>
            <a:off x="3110143" y="4152910"/>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400">
                <a:solidFill>
                  <a:srgbClr val="FFFFFF"/>
                </a:solidFill>
              </a:rPr>
              <a:t>App Service Plan</a:t>
            </a:r>
          </a:p>
        </p:txBody>
      </p:sp>
      <p:sp>
        <p:nvSpPr>
          <p:cNvPr id="29" name="Oval 28"/>
          <p:cNvSpPr/>
          <p:nvPr/>
        </p:nvSpPr>
        <p:spPr>
          <a:xfrm>
            <a:off x="9177775" y="4264820"/>
            <a:ext cx="806329" cy="696322"/>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400">
                <a:solidFill>
                  <a:srgbClr val="FFFFFF"/>
                </a:solidFill>
              </a:rPr>
              <a:t>End</a:t>
            </a:r>
          </a:p>
        </p:txBody>
      </p:sp>
      <p:cxnSp>
        <p:nvCxnSpPr>
          <p:cNvPr id="30" name="Straight Arrow Connector 29"/>
          <p:cNvCxnSpPr>
            <a:stCxn id="26" idx="6"/>
            <a:endCxn id="27" idx="2"/>
          </p:cNvCxnSpPr>
          <p:nvPr/>
        </p:nvCxnSpPr>
        <p:spPr>
          <a:xfrm flipV="1">
            <a:off x="2734196" y="4651695"/>
            <a:ext cx="375947" cy="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33" name="Oval 32"/>
          <p:cNvSpPr/>
          <p:nvPr/>
        </p:nvSpPr>
        <p:spPr>
          <a:xfrm>
            <a:off x="4946953" y="4776055"/>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400">
                <a:solidFill>
                  <a:srgbClr val="FFFFFF"/>
                </a:solidFill>
              </a:rPr>
              <a:t>Auto Scale Setting</a:t>
            </a:r>
          </a:p>
        </p:txBody>
      </p:sp>
      <p:sp>
        <p:nvSpPr>
          <p:cNvPr id="35" name="Oval 34"/>
          <p:cNvSpPr/>
          <p:nvPr/>
        </p:nvSpPr>
        <p:spPr>
          <a:xfrm>
            <a:off x="4946953" y="3624835"/>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400">
                <a:solidFill>
                  <a:srgbClr val="FFFFFF"/>
                </a:solidFill>
              </a:rPr>
              <a:t>Web</a:t>
            </a:r>
          </a:p>
          <a:p>
            <a:pPr algn="ctr" defTabSz="699354"/>
            <a:r>
              <a:rPr lang="en-US" sz="1400">
                <a:solidFill>
                  <a:srgbClr val="FFFFFF"/>
                </a:solidFill>
              </a:rPr>
              <a:t>Site</a:t>
            </a:r>
          </a:p>
        </p:txBody>
      </p:sp>
      <p:sp>
        <p:nvSpPr>
          <p:cNvPr id="36" name="Oval 35"/>
          <p:cNvSpPr/>
          <p:nvPr/>
        </p:nvSpPr>
        <p:spPr>
          <a:xfrm>
            <a:off x="7138182" y="3907238"/>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400">
                <a:solidFill>
                  <a:srgbClr val="FFFFFF"/>
                </a:solidFill>
              </a:rPr>
              <a:t>Alert Rule</a:t>
            </a:r>
          </a:p>
        </p:txBody>
      </p:sp>
      <p:sp>
        <p:nvSpPr>
          <p:cNvPr id="37" name="Oval 36"/>
          <p:cNvSpPr/>
          <p:nvPr/>
        </p:nvSpPr>
        <p:spPr>
          <a:xfrm>
            <a:off x="7138182" y="2756018"/>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400">
                <a:solidFill>
                  <a:srgbClr val="FFFFFF"/>
                </a:solidFill>
              </a:rPr>
              <a:t>App Insights</a:t>
            </a:r>
          </a:p>
        </p:txBody>
      </p:sp>
      <p:sp>
        <p:nvSpPr>
          <p:cNvPr id="39" name="Oval 38"/>
          <p:cNvSpPr/>
          <p:nvPr/>
        </p:nvSpPr>
        <p:spPr>
          <a:xfrm>
            <a:off x="7138182" y="5058457"/>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400">
                <a:solidFill>
                  <a:srgbClr val="FFFFFF"/>
                </a:solidFill>
              </a:rPr>
              <a:t>MS Deploy PKG</a:t>
            </a:r>
          </a:p>
        </p:txBody>
      </p:sp>
      <p:cxnSp>
        <p:nvCxnSpPr>
          <p:cNvPr id="40" name="Straight Arrow Connector 39"/>
          <p:cNvCxnSpPr>
            <a:stCxn id="27" idx="5"/>
            <a:endCxn id="33" idx="2"/>
          </p:cNvCxnSpPr>
          <p:nvPr/>
        </p:nvCxnSpPr>
        <p:spPr>
          <a:xfrm>
            <a:off x="4086813" y="5004386"/>
            <a:ext cx="860140" cy="27045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1" name="Straight Arrow Connector 40"/>
          <p:cNvCxnSpPr>
            <a:stCxn id="27" idx="7"/>
            <a:endCxn id="35" idx="2"/>
          </p:cNvCxnSpPr>
          <p:nvPr/>
        </p:nvCxnSpPr>
        <p:spPr>
          <a:xfrm flipV="1">
            <a:off x="4086813" y="4123621"/>
            <a:ext cx="860140" cy="175379"/>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2" name="Straight Arrow Connector 41"/>
          <p:cNvCxnSpPr>
            <a:stCxn id="35" idx="7"/>
            <a:endCxn id="37" idx="2"/>
          </p:cNvCxnSpPr>
          <p:nvPr/>
        </p:nvCxnSpPr>
        <p:spPr>
          <a:xfrm flipV="1">
            <a:off x="5923624" y="3254805"/>
            <a:ext cx="1214558" cy="51612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3" name="Straight Arrow Connector 42"/>
          <p:cNvCxnSpPr>
            <a:stCxn id="35" idx="6"/>
            <a:endCxn id="36" idx="2"/>
          </p:cNvCxnSpPr>
          <p:nvPr/>
        </p:nvCxnSpPr>
        <p:spPr>
          <a:xfrm>
            <a:off x="6091194" y="4123622"/>
            <a:ext cx="1046988" cy="28240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4" name="Straight Arrow Connector 43"/>
          <p:cNvCxnSpPr>
            <a:stCxn id="35" idx="5"/>
            <a:endCxn id="39" idx="2"/>
          </p:cNvCxnSpPr>
          <p:nvPr/>
        </p:nvCxnSpPr>
        <p:spPr>
          <a:xfrm>
            <a:off x="5923624" y="4476314"/>
            <a:ext cx="1214558" cy="1080929"/>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5" name="Straight Arrow Connector 44"/>
          <p:cNvCxnSpPr>
            <a:stCxn id="36" idx="6"/>
            <a:endCxn id="29" idx="2"/>
          </p:cNvCxnSpPr>
          <p:nvPr/>
        </p:nvCxnSpPr>
        <p:spPr>
          <a:xfrm>
            <a:off x="8282423" y="4406022"/>
            <a:ext cx="895353" cy="206960"/>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8" name="Straight Arrow Connector 47"/>
          <p:cNvCxnSpPr>
            <a:stCxn id="37" idx="5"/>
            <a:endCxn id="29" idx="1"/>
          </p:cNvCxnSpPr>
          <p:nvPr/>
        </p:nvCxnSpPr>
        <p:spPr>
          <a:xfrm>
            <a:off x="8114854" y="3607495"/>
            <a:ext cx="1181005" cy="759300"/>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9" name="Straight Arrow Connector 48"/>
          <p:cNvCxnSpPr>
            <a:stCxn id="39" idx="6"/>
            <a:endCxn id="29" idx="3"/>
          </p:cNvCxnSpPr>
          <p:nvPr/>
        </p:nvCxnSpPr>
        <p:spPr>
          <a:xfrm flipV="1">
            <a:off x="8282421" y="4859170"/>
            <a:ext cx="1013436" cy="69807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50" name="TextBox 49"/>
          <p:cNvSpPr txBox="1"/>
          <p:nvPr/>
        </p:nvSpPr>
        <p:spPr>
          <a:xfrm>
            <a:off x="3328722" y="3361420"/>
            <a:ext cx="1658440" cy="523220"/>
          </a:xfrm>
          <a:prstGeom prst="rect">
            <a:avLst/>
          </a:prstGeom>
          <a:noFill/>
        </p:spPr>
        <p:txBody>
          <a:bodyPr wrap="square" rtlCol="0">
            <a:spAutoFit/>
          </a:bodyPr>
          <a:lstStyle/>
          <a:p>
            <a:pPr defTabSz="699354"/>
            <a:r>
              <a:rPr lang="en-US" sz="1400">
                <a:solidFill>
                  <a:srgbClr val="FFFFFF"/>
                </a:solidFill>
              </a:rPr>
              <a:t>After App Service Plan Completes</a:t>
            </a:r>
          </a:p>
        </p:txBody>
      </p:sp>
      <p:sp>
        <p:nvSpPr>
          <p:cNvPr id="51" name="TextBox 50"/>
          <p:cNvSpPr txBox="1"/>
          <p:nvPr/>
        </p:nvSpPr>
        <p:spPr>
          <a:xfrm>
            <a:off x="5559283" y="2919451"/>
            <a:ext cx="1423683" cy="523220"/>
          </a:xfrm>
          <a:prstGeom prst="rect">
            <a:avLst/>
          </a:prstGeom>
          <a:noFill/>
        </p:spPr>
        <p:txBody>
          <a:bodyPr wrap="square" rtlCol="0">
            <a:spAutoFit/>
          </a:bodyPr>
          <a:lstStyle/>
          <a:p>
            <a:pPr defTabSz="699354"/>
            <a:r>
              <a:rPr lang="en-US" sz="1400">
                <a:solidFill>
                  <a:srgbClr val="FFFFFF"/>
                </a:solidFill>
              </a:rPr>
              <a:t>After Website Completes</a:t>
            </a:r>
          </a:p>
        </p:txBody>
      </p:sp>
      <p:sp>
        <p:nvSpPr>
          <p:cNvPr id="52" name="TextBox 51"/>
          <p:cNvSpPr txBox="1"/>
          <p:nvPr/>
        </p:nvSpPr>
        <p:spPr>
          <a:xfrm>
            <a:off x="8720916" y="3375539"/>
            <a:ext cx="1263186" cy="523220"/>
          </a:xfrm>
          <a:prstGeom prst="rect">
            <a:avLst/>
          </a:prstGeom>
          <a:noFill/>
        </p:spPr>
        <p:txBody>
          <a:bodyPr wrap="square" rtlCol="0">
            <a:spAutoFit/>
          </a:bodyPr>
          <a:lstStyle/>
          <a:p>
            <a:pPr defTabSz="699354"/>
            <a:r>
              <a:rPr lang="en-US" sz="1400">
                <a:solidFill>
                  <a:srgbClr val="FFFFFF"/>
                </a:solidFill>
              </a:rPr>
              <a:t>Once All Complete</a:t>
            </a:r>
          </a:p>
        </p:txBody>
      </p:sp>
      <p:sp>
        <p:nvSpPr>
          <p:cNvPr id="24" name="Text Placeholder 3"/>
          <p:cNvSpPr txBox="1">
            <a:spLocks/>
          </p:cNvSpPr>
          <p:nvPr/>
        </p:nvSpPr>
        <p:spPr>
          <a:xfrm>
            <a:off x="366168" y="1212850"/>
            <a:ext cx="11566275" cy="1292662"/>
          </a:xfrm>
          <a:prstGeom prst="rect">
            <a:avLst/>
          </a:prstGeom>
        </p:spPr>
        <p:txBody>
          <a:bodyPr vert="horz" wrap="square" lIns="164592" tIns="91440" rIns="164592"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2"/>
                    </a:gs>
                    <a:gs pos="99000">
                      <a:schemeClr val="tx2"/>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dirty="0"/>
              <a:t>Execution engine builds a state machine</a:t>
            </a:r>
          </a:p>
          <a:p>
            <a:r>
              <a:rPr lang="en-US" dirty="0" err="1"/>
              <a:t>dependsOn</a:t>
            </a:r>
            <a:r>
              <a:rPr lang="en-US" dirty="0"/>
              <a:t> and reference() establish dependencies</a:t>
            </a:r>
          </a:p>
        </p:txBody>
      </p:sp>
    </p:spTree>
    <p:extLst>
      <p:ext uri="{BB962C8B-B14F-4D97-AF65-F5344CB8AC3E}">
        <p14:creationId xmlns:p14="http://schemas.microsoft.com/office/powerpoint/2010/main" val="16555377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3" grpId="0" animBg="1"/>
      <p:bldP spid="35" grpId="0" animBg="1"/>
      <p:bldP spid="36" grpId="0" animBg="1"/>
      <p:bldP spid="37" grpId="0" animBg="1"/>
      <p:bldP spid="39" grpId="0" animBg="1"/>
      <p:bldP spid="50" grpId="0"/>
      <p:bldP spid="51" grpId="0"/>
      <p:bldP spid="5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4800"/>
              <a:t>Deployment with Visual Studio</a:t>
            </a:r>
          </a:p>
        </p:txBody>
      </p:sp>
      <p:pic>
        <p:nvPicPr>
          <p:cNvPr id="8" name="Picture 7"/>
          <p:cNvPicPr>
            <a:picLocks noChangeAspect="1"/>
          </p:cNvPicPr>
          <p:nvPr/>
        </p:nvPicPr>
        <p:blipFill>
          <a:blip r:embed="rId3"/>
          <a:stretch>
            <a:fillRect/>
          </a:stretch>
        </p:blipFill>
        <p:spPr>
          <a:xfrm>
            <a:off x="2026444" y="1897062"/>
            <a:ext cx="7085997" cy="4243026"/>
          </a:xfrm>
          <a:prstGeom prst="rect">
            <a:avLst/>
          </a:prstGeom>
        </p:spPr>
      </p:pic>
      <p:pic>
        <p:nvPicPr>
          <p:cNvPr id="9" name="Picture 8"/>
          <p:cNvPicPr>
            <a:picLocks noChangeAspect="1"/>
          </p:cNvPicPr>
          <p:nvPr/>
        </p:nvPicPr>
        <p:blipFill>
          <a:blip r:embed="rId4"/>
          <a:stretch>
            <a:fillRect/>
          </a:stretch>
        </p:blipFill>
        <p:spPr>
          <a:xfrm>
            <a:off x="3476499" y="1700627"/>
            <a:ext cx="6014526" cy="3935871"/>
          </a:xfrm>
          <a:prstGeom prst="rect">
            <a:avLst/>
          </a:prstGeom>
        </p:spPr>
      </p:pic>
      <p:pic>
        <p:nvPicPr>
          <p:cNvPr id="10" name="Picture 9"/>
          <p:cNvPicPr>
            <a:picLocks noChangeAspect="1"/>
          </p:cNvPicPr>
          <p:nvPr/>
        </p:nvPicPr>
        <p:blipFill>
          <a:blip r:embed="rId5"/>
          <a:stretch>
            <a:fillRect/>
          </a:stretch>
        </p:blipFill>
        <p:spPr>
          <a:xfrm>
            <a:off x="8026682" y="1518474"/>
            <a:ext cx="1921505" cy="4300172"/>
          </a:xfrm>
          <a:prstGeom prst="rect">
            <a:avLst/>
          </a:prstGeom>
        </p:spPr>
      </p:pic>
    </p:spTree>
    <p:extLst>
      <p:ext uri="{BB962C8B-B14F-4D97-AF65-F5344CB8AC3E}">
        <p14:creationId xmlns:p14="http://schemas.microsoft.com/office/powerpoint/2010/main" val="3461521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9" y="1212850"/>
            <a:ext cx="5698876" cy="4678204"/>
          </a:xfrm>
        </p:spPr>
        <p:txBody>
          <a:bodyPr/>
          <a:lstStyle/>
          <a:p>
            <a:pPr marL="0" indent="0">
              <a:buNone/>
            </a:pPr>
            <a:r>
              <a:rPr lang="en-US" dirty="0"/>
              <a:t>Portal Storage</a:t>
            </a:r>
          </a:p>
          <a:p>
            <a:pPr marL="342900" lvl="1" indent="-342900" defTabSz="932594"/>
            <a:r>
              <a:rPr lang="en-US" sz="2000" dirty="0"/>
              <a:t>Create and Store in the Blade</a:t>
            </a:r>
          </a:p>
          <a:p>
            <a:pPr marL="342900" lvl="1" indent="-342900" defTabSz="932594"/>
            <a:r>
              <a:rPr lang="en-US" sz="2000" dirty="0"/>
              <a:t>Share with others in your organization</a:t>
            </a:r>
          </a:p>
          <a:p>
            <a:pPr marL="342900" lvl="1" indent="-342900" defTabSz="932594"/>
            <a:r>
              <a:rPr lang="en-US" sz="2000" dirty="0"/>
              <a:t>RBAC only lets those see with access</a:t>
            </a:r>
          </a:p>
          <a:p>
            <a:pPr marL="342900" lvl="1" indent="-342900" defTabSz="932594"/>
            <a:r>
              <a:rPr lang="en-US" sz="2000" dirty="0"/>
              <a:t>Edit directly </a:t>
            </a:r>
          </a:p>
          <a:p>
            <a:pPr marL="342900" lvl="1" indent="-342900" defTabSz="932594"/>
            <a:r>
              <a:rPr lang="en-US" sz="2000" dirty="0"/>
              <a:t>Copy and paste </a:t>
            </a:r>
            <a:r>
              <a:rPr lang="en-US" sz="2000" dirty="0" err="1"/>
              <a:t>QuickStarts</a:t>
            </a:r>
            <a:r>
              <a:rPr lang="en-US" sz="2000" dirty="0"/>
              <a:t> here</a:t>
            </a:r>
          </a:p>
          <a:p>
            <a:pPr marL="0" lvl="1" indent="0">
              <a:buNone/>
            </a:pPr>
            <a:endParaRPr lang="en-US" sz="2000" dirty="0">
              <a:hlinkClick r:id="rId3"/>
            </a:endParaRPr>
          </a:p>
          <a:p>
            <a:pPr marL="0" lvl="1" indent="0">
              <a:buNone/>
            </a:pPr>
            <a:endParaRPr lang="en-US" sz="2000" dirty="0">
              <a:hlinkClick r:id="rId3"/>
            </a:endParaRPr>
          </a:p>
          <a:p>
            <a:pPr marL="0" lvl="1" indent="0">
              <a:buNone/>
            </a:pPr>
            <a:endParaRPr lang="en-US" sz="2000" dirty="0">
              <a:hlinkClick r:id="rId3"/>
            </a:endParaRPr>
          </a:p>
          <a:p>
            <a:pPr marL="0" lvl="1" indent="0">
              <a:buNone/>
            </a:pPr>
            <a:endParaRPr lang="en-US" sz="2000" dirty="0">
              <a:hlinkClick r:id="rId3"/>
            </a:endParaRPr>
          </a:p>
          <a:p>
            <a:pPr marL="0" lvl="1" indent="0">
              <a:buNone/>
            </a:pPr>
            <a:r>
              <a:rPr lang="en-US" sz="2000" dirty="0">
                <a:hlinkClick r:id="rId3"/>
              </a:rPr>
              <a:t>aka.ms/Azure/Templates</a:t>
            </a:r>
            <a:r>
              <a:rPr lang="en-US" sz="2000" dirty="0"/>
              <a:t> </a:t>
            </a:r>
            <a:endParaRPr lang="en-US" sz="2000" dirty="0">
              <a:solidFill>
                <a:schemeClr val="tx1"/>
              </a:solidFill>
            </a:endParaRPr>
          </a:p>
          <a:p>
            <a:pPr marL="0" indent="0">
              <a:buNone/>
            </a:pPr>
            <a:endParaRPr lang="en-US" dirty="0"/>
          </a:p>
        </p:txBody>
      </p:sp>
      <p:sp>
        <p:nvSpPr>
          <p:cNvPr id="3" name="Title 2"/>
          <p:cNvSpPr>
            <a:spLocks noGrp="1"/>
          </p:cNvSpPr>
          <p:nvPr>
            <p:ph type="title"/>
          </p:nvPr>
        </p:nvSpPr>
        <p:spPr/>
        <p:txBody>
          <a:bodyPr/>
          <a:lstStyle/>
          <a:p>
            <a:r>
              <a:rPr lang="en-US" sz="4800" dirty="0"/>
              <a:t>Templates - </a:t>
            </a:r>
            <a:r>
              <a:rPr lang="en-US" sz="4800" i="1" dirty="0"/>
              <a:t>preview</a:t>
            </a:r>
          </a:p>
        </p:txBody>
      </p:sp>
      <p:pic>
        <p:nvPicPr>
          <p:cNvPr id="2" name="Picture 1">
            <a:extLst>
              <a:ext uri="{FF2B5EF4-FFF2-40B4-BE49-F238E27FC236}">
                <a16:creationId xmlns:a16="http://schemas.microsoft.com/office/drawing/2014/main" id="{CF9627CD-DBE6-42FF-85C0-A1FEE21B0888}"/>
              </a:ext>
            </a:extLst>
          </p:cNvPr>
          <p:cNvPicPr>
            <a:picLocks noChangeAspect="1"/>
          </p:cNvPicPr>
          <p:nvPr/>
        </p:nvPicPr>
        <p:blipFill>
          <a:blip r:embed="rId4"/>
          <a:stretch>
            <a:fillRect/>
          </a:stretch>
        </p:blipFill>
        <p:spPr>
          <a:xfrm>
            <a:off x="6669412" y="710851"/>
            <a:ext cx="3472699" cy="2649455"/>
          </a:xfrm>
          <a:prstGeom prst="rect">
            <a:avLst/>
          </a:prstGeom>
        </p:spPr>
      </p:pic>
      <p:pic>
        <p:nvPicPr>
          <p:cNvPr id="6" name="Picture 5">
            <a:extLst>
              <a:ext uri="{FF2B5EF4-FFF2-40B4-BE49-F238E27FC236}">
                <a16:creationId xmlns:a16="http://schemas.microsoft.com/office/drawing/2014/main" id="{E976D867-65E6-4258-A69C-7E255D11A795}"/>
              </a:ext>
            </a:extLst>
          </p:cNvPr>
          <p:cNvPicPr>
            <a:picLocks noChangeAspect="1"/>
          </p:cNvPicPr>
          <p:nvPr/>
        </p:nvPicPr>
        <p:blipFill>
          <a:blip r:embed="rId5"/>
          <a:stretch>
            <a:fillRect/>
          </a:stretch>
        </p:blipFill>
        <p:spPr>
          <a:xfrm>
            <a:off x="6907943" y="2330456"/>
            <a:ext cx="3456923" cy="1445423"/>
          </a:xfrm>
          <a:prstGeom prst="rect">
            <a:avLst/>
          </a:prstGeom>
        </p:spPr>
      </p:pic>
      <p:pic>
        <p:nvPicPr>
          <p:cNvPr id="7" name="Picture 6">
            <a:extLst>
              <a:ext uri="{FF2B5EF4-FFF2-40B4-BE49-F238E27FC236}">
                <a16:creationId xmlns:a16="http://schemas.microsoft.com/office/drawing/2014/main" id="{73B159AF-1627-40AF-A0E8-FA8D7B91C8F4}"/>
              </a:ext>
            </a:extLst>
          </p:cNvPr>
          <p:cNvPicPr>
            <a:picLocks noChangeAspect="1"/>
          </p:cNvPicPr>
          <p:nvPr/>
        </p:nvPicPr>
        <p:blipFill>
          <a:blip r:embed="rId6"/>
          <a:stretch>
            <a:fillRect/>
          </a:stretch>
        </p:blipFill>
        <p:spPr>
          <a:xfrm>
            <a:off x="5341271" y="2927699"/>
            <a:ext cx="6795329" cy="3355975"/>
          </a:xfrm>
          <a:prstGeom prst="rect">
            <a:avLst/>
          </a:prstGeom>
        </p:spPr>
      </p:pic>
      <p:pic>
        <p:nvPicPr>
          <p:cNvPr id="5" name="Picture 4">
            <a:extLst>
              <a:ext uri="{FF2B5EF4-FFF2-40B4-BE49-F238E27FC236}">
                <a16:creationId xmlns:a16="http://schemas.microsoft.com/office/drawing/2014/main" id="{077C6CDD-E5D6-46E9-8AD0-F185AC9C51EA}"/>
              </a:ext>
            </a:extLst>
          </p:cNvPr>
          <p:cNvPicPr>
            <a:picLocks noChangeAspect="1"/>
          </p:cNvPicPr>
          <p:nvPr/>
        </p:nvPicPr>
        <p:blipFill>
          <a:blip r:embed="rId7"/>
          <a:stretch>
            <a:fillRect/>
          </a:stretch>
        </p:blipFill>
        <p:spPr>
          <a:xfrm>
            <a:off x="7070778" y="4219583"/>
            <a:ext cx="3496064" cy="2479664"/>
          </a:xfrm>
          <a:prstGeom prst="rect">
            <a:avLst/>
          </a:prstGeom>
        </p:spPr>
      </p:pic>
    </p:spTree>
    <p:extLst>
      <p:ext uri="{BB962C8B-B14F-4D97-AF65-F5344CB8AC3E}">
        <p14:creationId xmlns:p14="http://schemas.microsoft.com/office/powerpoint/2010/main" val="3879511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p:cTn id="16" dur="500" fill="hold"/>
                                        <p:tgtEl>
                                          <p:spTgt spid="5"/>
                                        </p:tgtEl>
                                        <p:attrNameLst>
                                          <p:attrName>ppt_w</p:attrName>
                                        </p:attrNameLst>
                                      </p:cBhvr>
                                      <p:tavLst>
                                        <p:tav tm="0">
                                          <p:val>
                                            <p:fltVal val="0"/>
                                          </p:val>
                                        </p:tav>
                                        <p:tav tm="100000">
                                          <p:val>
                                            <p:strVal val="#ppt_w"/>
                                          </p:val>
                                        </p:tav>
                                      </p:tavLst>
                                    </p:anim>
                                    <p:anim calcmode="lin" valueType="num">
                                      <p:cBhvr>
                                        <p:cTn id="17" dur="500" fill="hold"/>
                                        <p:tgtEl>
                                          <p:spTgt spid="5"/>
                                        </p:tgtEl>
                                        <p:attrNameLst>
                                          <p:attrName>ppt_h</p:attrName>
                                        </p:attrNameLst>
                                      </p:cBhvr>
                                      <p:tavLst>
                                        <p:tav tm="0">
                                          <p:val>
                                            <p:fltVal val="0"/>
                                          </p:val>
                                        </p:tav>
                                        <p:tav tm="100000">
                                          <p:val>
                                            <p:strVal val="#ppt_h"/>
                                          </p:val>
                                        </p:tav>
                                      </p:tavLst>
                                    </p:anim>
                                    <p:animEffect transition="in" filter="fade">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6722D-B6BF-4D0F-9813-5DACC5BEA908}"/>
              </a:ext>
            </a:extLst>
          </p:cNvPr>
          <p:cNvSpPr>
            <a:spLocks noGrp="1"/>
          </p:cNvSpPr>
          <p:nvPr>
            <p:ph type="title"/>
          </p:nvPr>
        </p:nvSpPr>
        <p:spPr>
          <a:xfrm>
            <a:off x="226164" y="1729398"/>
            <a:ext cx="11702553" cy="1181862"/>
          </a:xfrm>
        </p:spPr>
        <p:txBody>
          <a:bodyPr/>
          <a:lstStyle/>
          <a:p>
            <a:r>
              <a:rPr lang="en-US" dirty="0"/>
              <a:t>Applications on IaaS</a:t>
            </a:r>
          </a:p>
        </p:txBody>
      </p:sp>
      <p:pic>
        <p:nvPicPr>
          <p:cNvPr id="3" name="Picture 2">
            <a:extLst>
              <a:ext uri="{FF2B5EF4-FFF2-40B4-BE49-F238E27FC236}">
                <a16:creationId xmlns:a16="http://schemas.microsoft.com/office/drawing/2014/main" id="{F002E854-8E41-41E8-BAAB-DADB812D65B2}"/>
              </a:ext>
            </a:extLst>
          </p:cNvPr>
          <p:cNvPicPr>
            <a:picLocks noChangeAspect="1"/>
          </p:cNvPicPr>
          <p:nvPr/>
        </p:nvPicPr>
        <p:blipFill>
          <a:blip r:embed="rId3"/>
          <a:stretch>
            <a:fillRect/>
          </a:stretch>
        </p:blipFill>
        <p:spPr>
          <a:xfrm>
            <a:off x="5386463" y="3497262"/>
            <a:ext cx="1842930" cy="1814358"/>
          </a:xfrm>
          <a:prstGeom prst="rect">
            <a:avLst/>
          </a:prstGeom>
        </p:spPr>
      </p:pic>
    </p:spTree>
    <p:extLst>
      <p:ext uri="{BB962C8B-B14F-4D97-AF65-F5344CB8AC3E}">
        <p14:creationId xmlns:p14="http://schemas.microsoft.com/office/powerpoint/2010/main" val="37726597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3"/>
          <p:cNvSpPr txBox="1">
            <a:spLocks/>
          </p:cNvSpPr>
          <p:nvPr/>
        </p:nvSpPr>
        <p:spPr>
          <a:xfrm>
            <a:off x="366169" y="1212850"/>
            <a:ext cx="5698876" cy="5561011"/>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a:solidFill>
                  <a:schemeClr val="accent1"/>
                </a:solidFill>
              </a:rPr>
              <a:t>Upgrade</a:t>
            </a:r>
            <a:endParaRPr lang="en-US"/>
          </a:p>
          <a:p>
            <a:pPr marL="342900" lvl="1" indent="-342900" defTabSz="932594"/>
            <a:r>
              <a:rPr lang="en-US" sz="2000"/>
              <a:t>Complexity made simple</a:t>
            </a:r>
          </a:p>
          <a:p>
            <a:pPr marL="342900" lvl="1" indent="-342900" defTabSz="932594"/>
            <a:r>
              <a:rPr lang="en-US" sz="2000"/>
              <a:t>Master template can be used to rollout upgrades</a:t>
            </a:r>
          </a:p>
          <a:p>
            <a:pPr marL="342900" lvl="1" indent="-342900" defTabSz="932594"/>
            <a:r>
              <a:rPr lang="en-US" sz="2000"/>
              <a:t>Imperative APIs, client tools support to update resources</a:t>
            </a:r>
          </a:p>
          <a:p>
            <a:pPr marL="0" indent="0">
              <a:buNone/>
            </a:pPr>
            <a:r>
              <a:rPr lang="en-US">
                <a:solidFill>
                  <a:schemeClr val="accent1"/>
                </a:solidFill>
              </a:rPr>
              <a:t>Manageability, auditing</a:t>
            </a:r>
            <a:endParaRPr lang="en-US" sz="2100"/>
          </a:p>
          <a:p>
            <a:pPr marL="342900" lvl="1" indent="-342900" defTabSz="932594"/>
            <a:r>
              <a:rPr lang="en-US" sz="2000"/>
              <a:t>Operations can be tracked up to 90 days (activity logs)</a:t>
            </a:r>
          </a:p>
          <a:p>
            <a:pPr marL="342900" lvl="1" indent="-342900" defTabSz="932594"/>
            <a:r>
              <a:rPr lang="en-US" sz="2000"/>
              <a:t>Management locks to lock down resources from deletion</a:t>
            </a:r>
          </a:p>
          <a:p>
            <a:pPr marL="0" indent="0">
              <a:buFont typeface="Arial" pitchFamily="34" charset="0"/>
              <a:buNone/>
            </a:pPr>
            <a:endParaRPr lang="en-US"/>
          </a:p>
        </p:txBody>
      </p:sp>
      <p:pic>
        <p:nvPicPr>
          <p:cNvPr id="3" name="Picture 2"/>
          <p:cNvPicPr>
            <a:picLocks noChangeAspect="1"/>
          </p:cNvPicPr>
          <p:nvPr/>
        </p:nvPicPr>
        <p:blipFill>
          <a:blip r:embed="rId3"/>
          <a:stretch>
            <a:fillRect/>
          </a:stretch>
        </p:blipFill>
        <p:spPr>
          <a:xfrm>
            <a:off x="7360444" y="2506662"/>
            <a:ext cx="3003157" cy="2821541"/>
          </a:xfrm>
          <a:prstGeom prst="rect">
            <a:avLst/>
          </a:prstGeom>
        </p:spPr>
      </p:pic>
      <p:sp>
        <p:nvSpPr>
          <p:cNvPr id="13" name="Title 1"/>
          <p:cNvSpPr txBox="1">
            <a:spLocks/>
          </p:cNvSpPr>
          <p:nvPr/>
        </p:nvSpPr>
        <p:spPr>
          <a:xfrm>
            <a:off x="366169" y="295278"/>
            <a:ext cx="1193251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Simplified manageability of applications on IaaS</a:t>
            </a:r>
          </a:p>
        </p:txBody>
      </p:sp>
    </p:spTree>
    <p:extLst>
      <p:ext uri="{BB962C8B-B14F-4D97-AF65-F5344CB8AC3E}">
        <p14:creationId xmlns:p14="http://schemas.microsoft.com/office/powerpoint/2010/main" val="403199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9" y="1212851"/>
            <a:ext cx="5546476" cy="4493538"/>
          </a:xfrm>
        </p:spPr>
        <p:txBody>
          <a:bodyPr/>
          <a:lstStyle/>
          <a:p>
            <a:pPr marL="0" indent="0">
              <a:buNone/>
            </a:pPr>
            <a:r>
              <a:rPr lang="en-US">
                <a:solidFill>
                  <a:schemeClr val="accent1"/>
                </a:solidFill>
              </a:rPr>
              <a:t>Infrastructure</a:t>
            </a:r>
          </a:p>
          <a:p>
            <a:pPr marL="342900" lvl="1" indent="-342900" defTabSz="932594"/>
            <a:r>
              <a:rPr lang="en-US" sz="2000"/>
              <a:t>Templates for different environments (</a:t>
            </a:r>
            <a:r>
              <a:rPr lang="en-US" sz="2000" err="1"/>
              <a:t>eg</a:t>
            </a:r>
            <a:r>
              <a:rPr lang="en-US" sz="2000"/>
              <a:t>: Dev, Test, Prod)</a:t>
            </a:r>
          </a:p>
          <a:p>
            <a:pPr marL="342900" lvl="1" indent="-342900" defTabSz="932594"/>
            <a:r>
              <a:rPr lang="en-US" sz="2000"/>
              <a:t>Orchestration of multiple infrastructure tiers (</a:t>
            </a:r>
            <a:r>
              <a:rPr lang="en-US" sz="2000" err="1"/>
              <a:t>eg</a:t>
            </a:r>
            <a:r>
              <a:rPr lang="en-US" sz="2000"/>
              <a:t>: VMs, </a:t>
            </a:r>
            <a:r>
              <a:rPr lang="en-US" sz="2000" err="1"/>
              <a:t>VNets</a:t>
            </a:r>
            <a:r>
              <a:rPr lang="en-US" sz="2000"/>
              <a:t>)</a:t>
            </a:r>
          </a:p>
          <a:p>
            <a:pPr marL="342900" lvl="1" indent="-342900" defTabSz="932594"/>
            <a:r>
              <a:rPr lang="en-US" sz="2000"/>
              <a:t>Orchestration across multiple Azure resources (</a:t>
            </a:r>
            <a:r>
              <a:rPr lang="en-US" sz="2000" err="1"/>
              <a:t>eg</a:t>
            </a:r>
            <a:r>
              <a:rPr lang="en-US" sz="2000"/>
              <a:t>: VMs, Websites) </a:t>
            </a:r>
          </a:p>
          <a:p>
            <a:pPr marL="0" indent="0">
              <a:buNone/>
            </a:pPr>
            <a:r>
              <a:rPr lang="en-US">
                <a:solidFill>
                  <a:schemeClr val="accent1"/>
                </a:solidFill>
              </a:rPr>
              <a:t>In-VM configuration </a:t>
            </a:r>
          </a:p>
          <a:p>
            <a:pPr marL="342900" lvl="1" indent="-342900" defTabSz="932594"/>
            <a:r>
              <a:rPr lang="en-US" sz="2000"/>
              <a:t>Common scripts/recipes that can be shared across multiple VMs</a:t>
            </a:r>
          </a:p>
          <a:p>
            <a:pPr marL="342900" lvl="1" indent="-342900" defTabSz="932594"/>
            <a:r>
              <a:rPr lang="en-US" sz="2000"/>
              <a:t>App-specific scripts that will be used for application setup</a:t>
            </a:r>
          </a:p>
        </p:txBody>
      </p:sp>
      <p:sp>
        <p:nvSpPr>
          <p:cNvPr id="3" name="Title 2"/>
          <p:cNvSpPr>
            <a:spLocks noGrp="1"/>
          </p:cNvSpPr>
          <p:nvPr>
            <p:ph type="title"/>
          </p:nvPr>
        </p:nvSpPr>
        <p:spPr/>
        <p:txBody>
          <a:bodyPr/>
          <a:lstStyle/>
          <a:p>
            <a:r>
              <a:rPr lang="en-US" sz="4800"/>
              <a:t>Architecting complex applications on IaaS</a:t>
            </a:r>
          </a:p>
        </p:txBody>
      </p:sp>
      <p:pic>
        <p:nvPicPr>
          <p:cNvPr id="4" name="Picture 3"/>
          <p:cNvPicPr>
            <a:picLocks noChangeAspect="1"/>
          </p:cNvPicPr>
          <p:nvPr/>
        </p:nvPicPr>
        <p:blipFill>
          <a:blip r:embed="rId3"/>
          <a:stretch>
            <a:fillRect/>
          </a:stretch>
        </p:blipFill>
        <p:spPr>
          <a:xfrm>
            <a:off x="7436644" y="2965544"/>
            <a:ext cx="1842930" cy="1814358"/>
          </a:xfrm>
          <a:prstGeom prst="rect">
            <a:avLst/>
          </a:prstGeom>
        </p:spPr>
      </p:pic>
    </p:spTree>
    <p:extLst>
      <p:ext uri="{BB962C8B-B14F-4D97-AF65-F5344CB8AC3E}">
        <p14:creationId xmlns:p14="http://schemas.microsoft.com/office/powerpoint/2010/main" val="66715602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6C5BC350-22D3-4DDA-8502-84E0381C6097}"/>
              </a:ext>
            </a:extLst>
          </p:cNvPr>
          <p:cNvSpPr/>
          <p:nvPr/>
        </p:nvSpPr>
        <p:spPr bwMode="auto">
          <a:xfrm>
            <a:off x="11760" y="1435364"/>
            <a:ext cx="12423128" cy="55492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Freeform 5">
            <a:extLst>
              <a:ext uri="{FF2B5EF4-FFF2-40B4-BE49-F238E27FC236}">
                <a16:creationId xmlns:a16="http://schemas.microsoft.com/office/drawing/2014/main" id="{5536D59D-3D0F-4686-9B50-EE76047E95CF}"/>
              </a:ext>
            </a:extLst>
          </p:cNvPr>
          <p:cNvSpPr>
            <a:spLocks noEditPoints="1"/>
          </p:cNvSpPr>
          <p:nvPr/>
        </p:nvSpPr>
        <p:spPr bwMode="auto">
          <a:xfrm>
            <a:off x="1054568" y="3537174"/>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77" name="Freeform 5">
            <a:extLst>
              <a:ext uri="{FF2B5EF4-FFF2-40B4-BE49-F238E27FC236}">
                <a16:creationId xmlns:a16="http://schemas.microsoft.com/office/drawing/2014/main" id="{C6E659CC-1FC3-4D8D-9EF6-D065A21242E4}"/>
              </a:ext>
            </a:extLst>
          </p:cNvPr>
          <p:cNvSpPr>
            <a:spLocks noEditPoints="1"/>
          </p:cNvSpPr>
          <p:nvPr/>
        </p:nvSpPr>
        <p:spPr bwMode="auto">
          <a:xfrm>
            <a:off x="978290" y="3579566"/>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78" name="Rectangle: Rounded Corners 77">
            <a:extLst>
              <a:ext uri="{FF2B5EF4-FFF2-40B4-BE49-F238E27FC236}">
                <a16:creationId xmlns:a16="http://schemas.microsoft.com/office/drawing/2014/main" id="{0900C5A9-5DF1-4459-96E5-B38E0673F289}"/>
              </a:ext>
            </a:extLst>
          </p:cNvPr>
          <p:cNvSpPr/>
          <p:nvPr/>
        </p:nvSpPr>
        <p:spPr bwMode="auto">
          <a:xfrm>
            <a:off x="602991" y="2563914"/>
            <a:ext cx="2002899" cy="4186173"/>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0" numCol="1" spcCol="0" rtlCol="0" fromWordArt="0" anchor="b"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r>
              <a:rPr lang="en-US" sz="1224" b="1" dirty="0">
                <a:ln>
                  <a:solidFill>
                    <a:srgbClr val="FFFFFF"/>
                  </a:solidFill>
                </a:ln>
                <a:solidFill>
                  <a:srgbClr val="FFFFFF"/>
                </a:solidFill>
                <a:latin typeface="Segoe UI Semilight"/>
                <a:ea typeface="Segoe UI" pitchFamily="34" charset="0"/>
                <a:cs typeface="Segoe UI" pitchFamily="34" charset="0"/>
              </a:rPr>
              <a:t>Availability Zone 1</a:t>
            </a:r>
          </a:p>
        </p:txBody>
      </p:sp>
      <p:sp>
        <p:nvSpPr>
          <p:cNvPr id="80" name="TextBox 15">
            <a:extLst>
              <a:ext uri="{FF2B5EF4-FFF2-40B4-BE49-F238E27FC236}">
                <a16:creationId xmlns:a16="http://schemas.microsoft.com/office/drawing/2014/main" id="{A61F8685-AE2F-4953-9F6C-3BC1820424A7}"/>
              </a:ext>
            </a:extLst>
          </p:cNvPr>
          <p:cNvSpPr txBox="1">
            <a:spLocks noChangeArrowheads="1"/>
          </p:cNvSpPr>
          <p:nvPr/>
        </p:nvSpPr>
        <p:spPr bwMode="auto">
          <a:xfrm>
            <a:off x="4300902" y="1669672"/>
            <a:ext cx="1800213" cy="318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32504">
              <a:lnSpc>
                <a:spcPct val="100000"/>
              </a:lnSpc>
              <a:spcBef>
                <a:spcPct val="0"/>
              </a:spcBef>
              <a:buNone/>
              <a:defRPr/>
            </a:pPr>
            <a:r>
              <a:rPr lang="en-US" altLang="en-US" sz="1428" b="1" dirty="0">
                <a:solidFill>
                  <a:srgbClr val="FFFFFF"/>
                </a:solidFill>
                <a:latin typeface="Segoe UI" panose="020B0502040204020203" pitchFamily="34" charset="0"/>
                <a:cs typeface="Segoe UI" panose="020B0502040204020203" pitchFamily="34" charset="0"/>
              </a:rPr>
              <a:t>Traffic Manager</a:t>
            </a:r>
          </a:p>
        </p:txBody>
      </p:sp>
      <p:grpSp>
        <p:nvGrpSpPr>
          <p:cNvPr id="81" name="Group 4">
            <a:extLst>
              <a:ext uri="{FF2B5EF4-FFF2-40B4-BE49-F238E27FC236}">
                <a16:creationId xmlns:a16="http://schemas.microsoft.com/office/drawing/2014/main" id="{BC4B4111-E854-4F2B-AC08-9A948086641E}"/>
              </a:ext>
            </a:extLst>
          </p:cNvPr>
          <p:cNvGrpSpPr>
            <a:grpSpLocks noChangeAspect="1"/>
          </p:cNvGrpSpPr>
          <p:nvPr/>
        </p:nvGrpSpPr>
        <p:grpSpPr bwMode="auto">
          <a:xfrm>
            <a:off x="3624372" y="1556640"/>
            <a:ext cx="526142" cy="540711"/>
            <a:chOff x="3272" y="1022"/>
            <a:chExt cx="325" cy="334"/>
          </a:xfrm>
          <a:noFill/>
        </p:grpSpPr>
        <p:sp>
          <p:nvSpPr>
            <p:cNvPr id="82" name="Freeform 5">
              <a:extLst>
                <a:ext uri="{FF2B5EF4-FFF2-40B4-BE49-F238E27FC236}">
                  <a16:creationId xmlns:a16="http://schemas.microsoft.com/office/drawing/2014/main" id="{6F6032C7-62A5-4DCB-B487-6AB8D6096A6D}"/>
                </a:ext>
              </a:extLst>
            </p:cNvPr>
            <p:cNvSpPr>
              <a:spLocks/>
            </p:cNvSpPr>
            <p:nvPr/>
          </p:nvSpPr>
          <p:spPr bwMode="auto">
            <a:xfrm>
              <a:off x="3487" y="1262"/>
              <a:ext cx="85" cy="85"/>
            </a:xfrm>
            <a:custGeom>
              <a:avLst/>
              <a:gdLst>
                <a:gd name="T0" fmla="*/ 0 w 85"/>
                <a:gd name="T1" fmla="*/ 60 h 85"/>
                <a:gd name="T2" fmla="*/ 25 w 85"/>
                <a:gd name="T3" fmla="*/ 85 h 85"/>
                <a:gd name="T4" fmla="*/ 85 w 85"/>
                <a:gd name="T5" fmla="*/ 24 h 85"/>
                <a:gd name="T6" fmla="*/ 63 w 85"/>
                <a:gd name="T7" fmla="*/ 0 h 85"/>
                <a:gd name="T8" fmla="*/ 2 w 85"/>
                <a:gd name="T9" fmla="*/ 60 h 85"/>
                <a:gd name="T10" fmla="*/ 0 w 85"/>
                <a:gd name="T11" fmla="*/ 60 h 85"/>
              </a:gdLst>
              <a:ahLst/>
              <a:cxnLst>
                <a:cxn ang="0">
                  <a:pos x="T0" y="T1"/>
                </a:cxn>
                <a:cxn ang="0">
                  <a:pos x="T2" y="T3"/>
                </a:cxn>
                <a:cxn ang="0">
                  <a:pos x="T4" y="T5"/>
                </a:cxn>
                <a:cxn ang="0">
                  <a:pos x="T6" y="T7"/>
                </a:cxn>
                <a:cxn ang="0">
                  <a:pos x="T8" y="T9"/>
                </a:cxn>
                <a:cxn ang="0">
                  <a:pos x="T10" y="T11"/>
                </a:cxn>
              </a:cxnLst>
              <a:rect l="0" t="0" r="r" b="b"/>
              <a:pathLst>
                <a:path w="85" h="85">
                  <a:moveTo>
                    <a:pt x="0" y="60"/>
                  </a:moveTo>
                  <a:lnTo>
                    <a:pt x="25" y="85"/>
                  </a:lnTo>
                  <a:lnTo>
                    <a:pt x="85" y="24"/>
                  </a:lnTo>
                  <a:lnTo>
                    <a:pt x="63" y="0"/>
                  </a:lnTo>
                  <a:lnTo>
                    <a:pt x="2" y="60"/>
                  </a:lnTo>
                  <a:lnTo>
                    <a:pt x="0" y="60"/>
                  </a:lnTo>
                  <a:close/>
                </a:path>
              </a:pathLst>
            </a:custGeom>
            <a:grpFill/>
            <a:ln w="158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86" name="Freeform 6">
              <a:extLst>
                <a:ext uri="{FF2B5EF4-FFF2-40B4-BE49-F238E27FC236}">
                  <a16:creationId xmlns:a16="http://schemas.microsoft.com/office/drawing/2014/main" id="{41458D80-3EEE-4028-8D0B-AC542744972E}"/>
                </a:ext>
              </a:extLst>
            </p:cNvPr>
            <p:cNvSpPr>
              <a:spLocks/>
            </p:cNvSpPr>
            <p:nvPr/>
          </p:nvSpPr>
          <p:spPr bwMode="auto">
            <a:xfrm>
              <a:off x="3343" y="1022"/>
              <a:ext cx="254" cy="237"/>
            </a:xfrm>
            <a:custGeom>
              <a:avLst/>
              <a:gdLst>
                <a:gd name="T0" fmla="*/ 146 w 254"/>
                <a:gd name="T1" fmla="*/ 35 h 237"/>
                <a:gd name="T2" fmla="*/ 225 w 254"/>
                <a:gd name="T3" fmla="*/ 112 h 237"/>
                <a:gd name="T4" fmla="*/ 225 w 254"/>
                <a:gd name="T5" fmla="*/ 209 h 237"/>
                <a:gd name="T6" fmla="*/ 254 w 254"/>
                <a:gd name="T7" fmla="*/ 237 h 237"/>
                <a:gd name="T8" fmla="*/ 254 w 254"/>
                <a:gd name="T9" fmla="*/ 98 h 237"/>
                <a:gd name="T10" fmla="*/ 159 w 254"/>
                <a:gd name="T11" fmla="*/ 0 h 237"/>
                <a:gd name="T12" fmla="*/ 24 w 254"/>
                <a:gd name="T13" fmla="*/ 0 h 237"/>
                <a:gd name="T14" fmla="*/ 0 w 254"/>
                <a:gd name="T15" fmla="*/ 25 h 237"/>
                <a:gd name="T16" fmla="*/ 22 w 254"/>
                <a:gd name="T17" fmla="*/ 49 h 237"/>
                <a:gd name="T18" fmla="*/ 36 w 254"/>
                <a:gd name="T19" fmla="*/ 35 h 237"/>
                <a:gd name="T20" fmla="*/ 146 w 254"/>
                <a:gd name="T21" fmla="*/ 3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237">
                  <a:moveTo>
                    <a:pt x="146" y="35"/>
                  </a:moveTo>
                  <a:lnTo>
                    <a:pt x="225" y="112"/>
                  </a:lnTo>
                  <a:lnTo>
                    <a:pt x="225" y="209"/>
                  </a:lnTo>
                  <a:lnTo>
                    <a:pt x="254" y="237"/>
                  </a:lnTo>
                  <a:lnTo>
                    <a:pt x="254" y="98"/>
                  </a:lnTo>
                  <a:lnTo>
                    <a:pt x="159" y="0"/>
                  </a:lnTo>
                  <a:lnTo>
                    <a:pt x="24" y="0"/>
                  </a:lnTo>
                  <a:lnTo>
                    <a:pt x="0" y="25"/>
                  </a:lnTo>
                  <a:lnTo>
                    <a:pt x="22" y="49"/>
                  </a:lnTo>
                  <a:lnTo>
                    <a:pt x="36" y="35"/>
                  </a:lnTo>
                  <a:lnTo>
                    <a:pt x="146" y="35"/>
                  </a:lnTo>
                  <a:close/>
                </a:path>
              </a:pathLst>
            </a:custGeom>
            <a:grpFill/>
            <a:ln w="158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88" name="Freeform 7">
              <a:extLst>
                <a:ext uri="{FF2B5EF4-FFF2-40B4-BE49-F238E27FC236}">
                  <a16:creationId xmlns:a16="http://schemas.microsoft.com/office/drawing/2014/main" id="{2DA8E689-83C7-4715-81D3-1D123219821D}"/>
                </a:ext>
              </a:extLst>
            </p:cNvPr>
            <p:cNvSpPr>
              <a:spLocks/>
            </p:cNvSpPr>
            <p:nvPr/>
          </p:nvSpPr>
          <p:spPr bwMode="auto">
            <a:xfrm>
              <a:off x="3272" y="1087"/>
              <a:ext cx="213" cy="269"/>
            </a:xfrm>
            <a:custGeom>
              <a:avLst/>
              <a:gdLst>
                <a:gd name="T0" fmla="*/ 29 w 213"/>
                <a:gd name="T1" fmla="*/ 157 h 269"/>
                <a:gd name="T2" fmla="*/ 29 w 213"/>
                <a:gd name="T3" fmla="*/ 47 h 269"/>
                <a:gd name="T4" fmla="*/ 55 w 213"/>
                <a:gd name="T5" fmla="*/ 21 h 269"/>
                <a:gd name="T6" fmla="*/ 35 w 213"/>
                <a:gd name="T7" fmla="*/ 0 h 269"/>
                <a:gd name="T8" fmla="*/ 0 w 213"/>
                <a:gd name="T9" fmla="*/ 36 h 269"/>
                <a:gd name="T10" fmla="*/ 0 w 213"/>
                <a:gd name="T11" fmla="*/ 172 h 269"/>
                <a:gd name="T12" fmla="*/ 95 w 213"/>
                <a:gd name="T13" fmla="*/ 269 h 269"/>
                <a:gd name="T14" fmla="*/ 213 w 213"/>
                <a:gd name="T15" fmla="*/ 269 h 269"/>
                <a:gd name="T16" fmla="*/ 178 w 213"/>
                <a:gd name="T17" fmla="*/ 235 h 269"/>
                <a:gd name="T18" fmla="*/ 107 w 213"/>
                <a:gd name="T19" fmla="*/ 235 h 269"/>
                <a:gd name="T20" fmla="*/ 29 w 213"/>
                <a:gd name="T21" fmla="*/ 15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69">
                  <a:moveTo>
                    <a:pt x="29" y="157"/>
                  </a:moveTo>
                  <a:lnTo>
                    <a:pt x="29" y="47"/>
                  </a:lnTo>
                  <a:lnTo>
                    <a:pt x="55" y="21"/>
                  </a:lnTo>
                  <a:lnTo>
                    <a:pt x="35" y="0"/>
                  </a:lnTo>
                  <a:lnTo>
                    <a:pt x="0" y="36"/>
                  </a:lnTo>
                  <a:lnTo>
                    <a:pt x="0" y="172"/>
                  </a:lnTo>
                  <a:lnTo>
                    <a:pt x="95" y="269"/>
                  </a:lnTo>
                  <a:lnTo>
                    <a:pt x="213" y="269"/>
                  </a:lnTo>
                  <a:lnTo>
                    <a:pt x="178" y="235"/>
                  </a:lnTo>
                  <a:lnTo>
                    <a:pt x="107" y="235"/>
                  </a:lnTo>
                  <a:lnTo>
                    <a:pt x="29" y="157"/>
                  </a:lnTo>
                  <a:close/>
                </a:path>
              </a:pathLst>
            </a:custGeom>
            <a:grpFill/>
            <a:ln w="158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89" name="Freeform 8">
              <a:extLst>
                <a:ext uri="{FF2B5EF4-FFF2-40B4-BE49-F238E27FC236}">
                  <a16:creationId xmlns:a16="http://schemas.microsoft.com/office/drawing/2014/main" id="{F25F29DC-F1EE-4D31-B994-0480234F6E97}"/>
                </a:ext>
              </a:extLst>
            </p:cNvPr>
            <p:cNvSpPr>
              <a:spLocks/>
            </p:cNvSpPr>
            <p:nvPr/>
          </p:nvSpPr>
          <p:spPr bwMode="auto">
            <a:xfrm>
              <a:off x="3327" y="1071"/>
              <a:ext cx="126" cy="128"/>
            </a:xfrm>
            <a:custGeom>
              <a:avLst/>
              <a:gdLst>
                <a:gd name="T0" fmla="*/ 22 w 126"/>
                <a:gd name="T1" fmla="*/ 128 h 128"/>
                <a:gd name="T2" fmla="*/ 126 w 126"/>
                <a:gd name="T3" fmla="*/ 128 h 128"/>
                <a:gd name="T4" fmla="*/ 126 w 126"/>
                <a:gd name="T5" fmla="*/ 21 h 128"/>
                <a:gd name="T6" fmla="*/ 93 w 126"/>
                <a:gd name="T7" fmla="*/ 56 h 128"/>
                <a:gd name="T8" fmla="*/ 38 w 126"/>
                <a:gd name="T9" fmla="*/ 0 h 128"/>
                <a:gd name="T10" fmla="*/ 0 w 126"/>
                <a:gd name="T11" fmla="*/ 37 h 128"/>
                <a:gd name="T12" fmla="*/ 55 w 126"/>
                <a:gd name="T13" fmla="*/ 93 h 128"/>
                <a:gd name="T14" fmla="*/ 22 w 126"/>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28">
                  <a:moveTo>
                    <a:pt x="22" y="128"/>
                  </a:moveTo>
                  <a:lnTo>
                    <a:pt x="126" y="128"/>
                  </a:lnTo>
                  <a:lnTo>
                    <a:pt x="126" y="21"/>
                  </a:lnTo>
                  <a:lnTo>
                    <a:pt x="93" y="56"/>
                  </a:lnTo>
                  <a:lnTo>
                    <a:pt x="38" y="0"/>
                  </a:lnTo>
                  <a:lnTo>
                    <a:pt x="0" y="37"/>
                  </a:lnTo>
                  <a:lnTo>
                    <a:pt x="55" y="93"/>
                  </a:lnTo>
                  <a:lnTo>
                    <a:pt x="22" y="128"/>
                  </a:lnTo>
                  <a:close/>
                </a:path>
              </a:pathLst>
            </a:custGeom>
            <a:grpFill/>
            <a:ln w="158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90" name="Freeform 9">
              <a:extLst>
                <a:ext uri="{FF2B5EF4-FFF2-40B4-BE49-F238E27FC236}">
                  <a16:creationId xmlns:a16="http://schemas.microsoft.com/office/drawing/2014/main" id="{29C89511-FE4C-4445-B6A6-74B4A574185A}"/>
                </a:ext>
              </a:extLst>
            </p:cNvPr>
            <p:cNvSpPr>
              <a:spLocks/>
            </p:cNvSpPr>
            <p:nvPr/>
          </p:nvSpPr>
          <p:spPr bwMode="auto">
            <a:xfrm>
              <a:off x="3482" y="1169"/>
              <a:ext cx="86" cy="93"/>
            </a:xfrm>
            <a:custGeom>
              <a:avLst/>
              <a:gdLst>
                <a:gd name="T0" fmla="*/ 86 w 86"/>
                <a:gd name="T1" fmla="*/ 62 h 93"/>
                <a:gd name="T2" fmla="*/ 48 w 86"/>
                <a:gd name="T3" fmla="*/ 25 h 93"/>
                <a:gd name="T4" fmla="*/ 74 w 86"/>
                <a:gd name="T5" fmla="*/ 0 h 93"/>
                <a:gd name="T6" fmla="*/ 0 w 86"/>
                <a:gd name="T7" fmla="*/ 0 h 93"/>
                <a:gd name="T8" fmla="*/ 0 w 86"/>
                <a:gd name="T9" fmla="*/ 72 h 93"/>
                <a:gd name="T10" fmla="*/ 24 w 86"/>
                <a:gd name="T11" fmla="*/ 47 h 93"/>
                <a:gd name="T12" fmla="*/ 68 w 86"/>
                <a:gd name="T13" fmla="*/ 93 h 93"/>
                <a:gd name="T14" fmla="*/ 86 w 86"/>
                <a:gd name="T15" fmla="*/ 75 h 93"/>
                <a:gd name="T16" fmla="*/ 86 w 86"/>
                <a:gd name="T17" fmla="*/ 6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93">
                  <a:moveTo>
                    <a:pt x="86" y="62"/>
                  </a:moveTo>
                  <a:lnTo>
                    <a:pt x="48" y="25"/>
                  </a:lnTo>
                  <a:lnTo>
                    <a:pt x="74" y="0"/>
                  </a:lnTo>
                  <a:lnTo>
                    <a:pt x="0" y="0"/>
                  </a:lnTo>
                  <a:lnTo>
                    <a:pt x="0" y="72"/>
                  </a:lnTo>
                  <a:lnTo>
                    <a:pt x="24" y="47"/>
                  </a:lnTo>
                  <a:lnTo>
                    <a:pt x="68" y="93"/>
                  </a:lnTo>
                  <a:lnTo>
                    <a:pt x="86" y="75"/>
                  </a:lnTo>
                  <a:lnTo>
                    <a:pt x="86" y="62"/>
                  </a:lnTo>
                  <a:close/>
                </a:path>
              </a:pathLst>
            </a:custGeom>
            <a:grpFill/>
            <a:ln w="158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91" name="Freeform 10">
              <a:extLst>
                <a:ext uri="{FF2B5EF4-FFF2-40B4-BE49-F238E27FC236}">
                  <a16:creationId xmlns:a16="http://schemas.microsoft.com/office/drawing/2014/main" id="{80396AFB-C690-4298-B41C-227DD4EA4787}"/>
                </a:ext>
              </a:extLst>
            </p:cNvPr>
            <p:cNvSpPr>
              <a:spLocks/>
            </p:cNvSpPr>
            <p:nvPr/>
          </p:nvSpPr>
          <p:spPr bwMode="auto">
            <a:xfrm>
              <a:off x="3377" y="1228"/>
              <a:ext cx="110" cy="94"/>
            </a:xfrm>
            <a:custGeom>
              <a:avLst/>
              <a:gdLst>
                <a:gd name="T0" fmla="*/ 53 w 110"/>
                <a:gd name="T1" fmla="*/ 0 h 94"/>
                <a:gd name="T2" fmla="*/ 0 w 110"/>
                <a:gd name="T3" fmla="*/ 0 h 94"/>
                <a:gd name="T4" fmla="*/ 0 w 110"/>
                <a:gd name="T5" fmla="*/ 56 h 94"/>
                <a:gd name="T6" fmla="*/ 17 w 110"/>
                <a:gd name="T7" fmla="*/ 37 h 94"/>
                <a:gd name="T8" fmla="*/ 73 w 110"/>
                <a:gd name="T9" fmla="*/ 94 h 94"/>
                <a:gd name="T10" fmla="*/ 110 w 110"/>
                <a:gd name="T11" fmla="*/ 94 h 94"/>
                <a:gd name="T12" fmla="*/ 38 w 110"/>
                <a:gd name="T13" fmla="*/ 18 h 94"/>
                <a:gd name="T14" fmla="*/ 53 w 110"/>
                <a:gd name="T15" fmla="*/ 0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94">
                  <a:moveTo>
                    <a:pt x="53" y="0"/>
                  </a:moveTo>
                  <a:lnTo>
                    <a:pt x="0" y="0"/>
                  </a:lnTo>
                  <a:lnTo>
                    <a:pt x="0" y="56"/>
                  </a:lnTo>
                  <a:lnTo>
                    <a:pt x="17" y="37"/>
                  </a:lnTo>
                  <a:lnTo>
                    <a:pt x="73" y="94"/>
                  </a:lnTo>
                  <a:lnTo>
                    <a:pt x="110" y="94"/>
                  </a:lnTo>
                  <a:lnTo>
                    <a:pt x="38" y="18"/>
                  </a:lnTo>
                  <a:lnTo>
                    <a:pt x="53" y="0"/>
                  </a:lnTo>
                  <a:close/>
                </a:path>
              </a:pathLst>
            </a:custGeom>
            <a:grpFill/>
            <a:ln w="158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sp>
        <p:nvSpPr>
          <p:cNvPr id="92" name="Freeform 14">
            <a:extLst>
              <a:ext uri="{FF2B5EF4-FFF2-40B4-BE49-F238E27FC236}">
                <a16:creationId xmlns:a16="http://schemas.microsoft.com/office/drawing/2014/main" id="{F4DA51D6-26DE-4848-99BF-80DDE45C0793}"/>
              </a:ext>
            </a:extLst>
          </p:cNvPr>
          <p:cNvSpPr>
            <a:spLocks noEditPoints="1"/>
          </p:cNvSpPr>
          <p:nvPr/>
        </p:nvSpPr>
        <p:spPr bwMode="auto">
          <a:xfrm>
            <a:off x="1063241" y="2673188"/>
            <a:ext cx="760881" cy="505095"/>
          </a:xfrm>
          <a:custGeom>
            <a:avLst/>
            <a:gdLst>
              <a:gd name="T0" fmla="*/ 832 w 833"/>
              <a:gd name="T1" fmla="*/ 496 h 552"/>
              <a:gd name="T2" fmla="*/ 757 w 833"/>
              <a:gd name="T3" fmla="*/ 22 h 552"/>
              <a:gd name="T4" fmla="*/ 734 w 833"/>
              <a:gd name="T5" fmla="*/ 0 h 552"/>
              <a:gd name="T6" fmla="*/ 108 w 833"/>
              <a:gd name="T7" fmla="*/ 0 h 552"/>
              <a:gd name="T8" fmla="*/ 85 w 833"/>
              <a:gd name="T9" fmla="*/ 22 h 552"/>
              <a:gd name="T10" fmla="*/ 1 w 833"/>
              <a:gd name="T11" fmla="*/ 497 h 552"/>
              <a:gd name="T12" fmla="*/ 1 w 833"/>
              <a:gd name="T13" fmla="*/ 496 h 552"/>
              <a:gd name="T14" fmla="*/ 1 w 833"/>
              <a:gd name="T15" fmla="*/ 498 h 552"/>
              <a:gd name="T16" fmla="*/ 0 w 833"/>
              <a:gd name="T17" fmla="*/ 500 h 552"/>
              <a:gd name="T18" fmla="*/ 1 w 833"/>
              <a:gd name="T19" fmla="*/ 501 h 552"/>
              <a:gd name="T20" fmla="*/ 0 w 833"/>
              <a:gd name="T21" fmla="*/ 509 h 552"/>
              <a:gd name="T22" fmla="*/ 36 w 833"/>
              <a:gd name="T23" fmla="*/ 552 h 552"/>
              <a:gd name="T24" fmla="*/ 36 w 833"/>
              <a:gd name="T25" fmla="*/ 552 h 552"/>
              <a:gd name="T26" fmla="*/ 797 w 833"/>
              <a:gd name="T27" fmla="*/ 552 h 552"/>
              <a:gd name="T28" fmla="*/ 832 w 833"/>
              <a:gd name="T29" fmla="*/ 509 h 552"/>
              <a:gd name="T30" fmla="*/ 832 w 833"/>
              <a:gd name="T31" fmla="*/ 496 h 552"/>
              <a:gd name="T32" fmla="*/ 570 w 833"/>
              <a:gd name="T33" fmla="*/ 376 h 552"/>
              <a:gd name="T34" fmla="*/ 478 w 833"/>
              <a:gd name="T35" fmla="*/ 376 h 552"/>
              <a:gd name="T36" fmla="*/ 465 w 833"/>
              <a:gd name="T37" fmla="*/ 362 h 552"/>
              <a:gd name="T38" fmla="*/ 478 w 833"/>
              <a:gd name="T39" fmla="*/ 349 h 552"/>
              <a:gd name="T40" fmla="*/ 522 w 833"/>
              <a:gd name="T41" fmla="*/ 349 h 552"/>
              <a:gd name="T42" fmla="*/ 418 w 833"/>
              <a:gd name="T43" fmla="*/ 245 h 552"/>
              <a:gd name="T44" fmla="*/ 418 w 833"/>
              <a:gd name="T45" fmla="*/ 453 h 552"/>
              <a:gd name="T46" fmla="*/ 450 w 833"/>
              <a:gd name="T47" fmla="*/ 420 h 552"/>
              <a:gd name="T48" fmla="*/ 469 w 833"/>
              <a:gd name="T49" fmla="*/ 420 h 552"/>
              <a:gd name="T50" fmla="*/ 469 w 833"/>
              <a:gd name="T51" fmla="*/ 439 h 552"/>
              <a:gd name="T52" fmla="*/ 404 w 833"/>
              <a:gd name="T53" fmla="*/ 504 h 552"/>
              <a:gd name="T54" fmla="*/ 339 w 833"/>
              <a:gd name="T55" fmla="*/ 439 h 552"/>
              <a:gd name="T56" fmla="*/ 335 w 833"/>
              <a:gd name="T57" fmla="*/ 430 h 552"/>
              <a:gd name="T58" fmla="*/ 339 w 833"/>
              <a:gd name="T59" fmla="*/ 420 h 552"/>
              <a:gd name="T60" fmla="*/ 358 w 833"/>
              <a:gd name="T61" fmla="*/ 420 h 552"/>
              <a:gd name="T62" fmla="*/ 391 w 833"/>
              <a:gd name="T63" fmla="*/ 454 h 552"/>
              <a:gd name="T64" fmla="*/ 391 w 833"/>
              <a:gd name="T65" fmla="*/ 245 h 552"/>
              <a:gd name="T66" fmla="*/ 287 w 833"/>
              <a:gd name="T67" fmla="*/ 349 h 552"/>
              <a:gd name="T68" fmla="*/ 334 w 833"/>
              <a:gd name="T69" fmla="*/ 349 h 552"/>
              <a:gd name="T70" fmla="*/ 347 w 833"/>
              <a:gd name="T71" fmla="*/ 362 h 552"/>
              <a:gd name="T72" fmla="*/ 334 w 833"/>
              <a:gd name="T73" fmla="*/ 376 h 552"/>
              <a:gd name="T74" fmla="*/ 242 w 833"/>
              <a:gd name="T75" fmla="*/ 376 h 552"/>
              <a:gd name="T76" fmla="*/ 242 w 833"/>
              <a:gd name="T77" fmla="*/ 284 h 552"/>
              <a:gd name="T78" fmla="*/ 255 w 833"/>
              <a:gd name="T79" fmla="*/ 270 h 552"/>
              <a:gd name="T80" fmla="*/ 269 w 833"/>
              <a:gd name="T81" fmla="*/ 284 h 552"/>
              <a:gd name="T82" fmla="*/ 269 w 833"/>
              <a:gd name="T83" fmla="*/ 330 h 552"/>
              <a:gd name="T84" fmla="*/ 391 w 833"/>
              <a:gd name="T85" fmla="*/ 207 h 552"/>
              <a:gd name="T86" fmla="*/ 391 w 833"/>
              <a:gd name="T87" fmla="*/ 143 h 552"/>
              <a:gd name="T88" fmla="*/ 362 w 833"/>
              <a:gd name="T89" fmla="*/ 103 h 552"/>
              <a:gd name="T90" fmla="*/ 405 w 833"/>
              <a:gd name="T91" fmla="*/ 61 h 552"/>
              <a:gd name="T92" fmla="*/ 447 w 833"/>
              <a:gd name="T93" fmla="*/ 103 h 552"/>
              <a:gd name="T94" fmla="*/ 418 w 833"/>
              <a:gd name="T95" fmla="*/ 143 h 552"/>
              <a:gd name="T96" fmla="*/ 418 w 833"/>
              <a:gd name="T97" fmla="*/ 207 h 552"/>
              <a:gd name="T98" fmla="*/ 544 w 833"/>
              <a:gd name="T99" fmla="*/ 333 h 552"/>
              <a:gd name="T100" fmla="*/ 544 w 833"/>
              <a:gd name="T101" fmla="*/ 283 h 552"/>
              <a:gd name="T102" fmla="*/ 557 w 833"/>
              <a:gd name="T103" fmla="*/ 270 h 552"/>
              <a:gd name="T104" fmla="*/ 570 w 833"/>
              <a:gd name="T105" fmla="*/ 283 h 552"/>
              <a:gd name="T106" fmla="*/ 570 w 833"/>
              <a:gd name="T107" fmla="*/ 376 h 552"/>
              <a:gd name="T108" fmla="*/ 570 w 833"/>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3" h="552">
                <a:moveTo>
                  <a:pt x="832" y="496"/>
                </a:moveTo>
                <a:lnTo>
                  <a:pt x="757" y="22"/>
                </a:lnTo>
                <a:cubicBezTo>
                  <a:pt x="755" y="2"/>
                  <a:pt x="739" y="0"/>
                  <a:pt x="734" y="0"/>
                </a:cubicBezTo>
                <a:lnTo>
                  <a:pt x="108" y="0"/>
                </a:lnTo>
                <a:cubicBezTo>
                  <a:pt x="103" y="0"/>
                  <a:pt x="86" y="2"/>
                  <a:pt x="85" y="22"/>
                </a:cubicBezTo>
                <a:lnTo>
                  <a:pt x="1" y="497"/>
                </a:lnTo>
                <a:lnTo>
                  <a:pt x="1" y="496"/>
                </a:lnTo>
                <a:cubicBezTo>
                  <a:pt x="1" y="497"/>
                  <a:pt x="1" y="497"/>
                  <a:pt x="1" y="498"/>
                </a:cubicBezTo>
                <a:lnTo>
                  <a:pt x="0" y="500"/>
                </a:lnTo>
                <a:lnTo>
                  <a:pt x="1" y="501"/>
                </a:lnTo>
                <a:cubicBezTo>
                  <a:pt x="1" y="503"/>
                  <a:pt x="0" y="506"/>
                  <a:pt x="0" y="509"/>
                </a:cubicBezTo>
                <a:cubicBezTo>
                  <a:pt x="0" y="544"/>
                  <a:pt x="29" y="552"/>
                  <a:pt x="36" y="552"/>
                </a:cubicBezTo>
                <a:lnTo>
                  <a:pt x="36" y="552"/>
                </a:lnTo>
                <a:lnTo>
                  <a:pt x="797" y="552"/>
                </a:lnTo>
                <a:cubicBezTo>
                  <a:pt x="803" y="552"/>
                  <a:pt x="832" y="545"/>
                  <a:pt x="832" y="509"/>
                </a:cubicBezTo>
                <a:cubicBezTo>
                  <a:pt x="833" y="505"/>
                  <a:pt x="832" y="500"/>
                  <a:pt x="832" y="496"/>
                </a:cubicBezTo>
                <a:close/>
                <a:moveTo>
                  <a:pt x="570" y="376"/>
                </a:moveTo>
                <a:lnTo>
                  <a:pt x="478" y="376"/>
                </a:lnTo>
                <a:cubicBezTo>
                  <a:pt x="471" y="376"/>
                  <a:pt x="465" y="370"/>
                  <a:pt x="465" y="362"/>
                </a:cubicBezTo>
                <a:cubicBezTo>
                  <a:pt x="465" y="355"/>
                  <a:pt x="471" y="349"/>
                  <a:pt x="478" y="349"/>
                </a:cubicBezTo>
                <a:lnTo>
                  <a:pt x="522" y="349"/>
                </a:lnTo>
                <a:lnTo>
                  <a:pt x="418" y="245"/>
                </a:lnTo>
                <a:lnTo>
                  <a:pt x="418" y="453"/>
                </a:lnTo>
                <a:lnTo>
                  <a:pt x="450" y="420"/>
                </a:lnTo>
                <a:cubicBezTo>
                  <a:pt x="456" y="415"/>
                  <a:pt x="464" y="415"/>
                  <a:pt x="469" y="420"/>
                </a:cubicBezTo>
                <a:cubicBezTo>
                  <a:pt x="474" y="425"/>
                  <a:pt x="474" y="434"/>
                  <a:pt x="469" y="439"/>
                </a:cubicBezTo>
                <a:lnTo>
                  <a:pt x="404" y="504"/>
                </a:lnTo>
                <a:lnTo>
                  <a:pt x="339" y="439"/>
                </a:lnTo>
                <a:cubicBezTo>
                  <a:pt x="336" y="436"/>
                  <a:pt x="335" y="433"/>
                  <a:pt x="335" y="430"/>
                </a:cubicBezTo>
                <a:cubicBezTo>
                  <a:pt x="335" y="426"/>
                  <a:pt x="336" y="423"/>
                  <a:pt x="339" y="420"/>
                </a:cubicBezTo>
                <a:cubicBezTo>
                  <a:pt x="344" y="415"/>
                  <a:pt x="353" y="415"/>
                  <a:pt x="358" y="420"/>
                </a:cubicBezTo>
                <a:lnTo>
                  <a:pt x="391" y="454"/>
                </a:lnTo>
                <a:lnTo>
                  <a:pt x="391" y="245"/>
                </a:lnTo>
                <a:lnTo>
                  <a:pt x="287" y="349"/>
                </a:lnTo>
                <a:lnTo>
                  <a:pt x="334" y="349"/>
                </a:lnTo>
                <a:cubicBezTo>
                  <a:pt x="341" y="349"/>
                  <a:pt x="347" y="355"/>
                  <a:pt x="347" y="362"/>
                </a:cubicBezTo>
                <a:cubicBezTo>
                  <a:pt x="347" y="370"/>
                  <a:pt x="341" y="376"/>
                  <a:pt x="334" y="376"/>
                </a:cubicBezTo>
                <a:lnTo>
                  <a:pt x="242" y="376"/>
                </a:lnTo>
                <a:lnTo>
                  <a:pt x="242" y="284"/>
                </a:lnTo>
                <a:cubicBezTo>
                  <a:pt x="242" y="276"/>
                  <a:pt x="248" y="270"/>
                  <a:pt x="255" y="270"/>
                </a:cubicBezTo>
                <a:cubicBezTo>
                  <a:pt x="263" y="270"/>
                  <a:pt x="269" y="276"/>
                  <a:pt x="269" y="284"/>
                </a:cubicBezTo>
                <a:lnTo>
                  <a:pt x="269" y="330"/>
                </a:lnTo>
                <a:lnTo>
                  <a:pt x="391" y="207"/>
                </a:lnTo>
                <a:lnTo>
                  <a:pt x="391" y="143"/>
                </a:lnTo>
                <a:cubicBezTo>
                  <a:pt x="375" y="137"/>
                  <a:pt x="362" y="121"/>
                  <a:pt x="362" y="103"/>
                </a:cubicBezTo>
                <a:cubicBezTo>
                  <a:pt x="362" y="79"/>
                  <a:pt x="381" y="61"/>
                  <a:pt x="405" y="61"/>
                </a:cubicBezTo>
                <a:cubicBezTo>
                  <a:pt x="428" y="61"/>
                  <a:pt x="447" y="79"/>
                  <a:pt x="447" y="103"/>
                </a:cubicBezTo>
                <a:cubicBezTo>
                  <a:pt x="447" y="121"/>
                  <a:pt x="435" y="137"/>
                  <a:pt x="418" y="143"/>
                </a:cubicBezTo>
                <a:lnTo>
                  <a:pt x="418" y="207"/>
                </a:lnTo>
                <a:lnTo>
                  <a:pt x="544" y="333"/>
                </a:lnTo>
                <a:lnTo>
                  <a:pt x="544" y="283"/>
                </a:lnTo>
                <a:cubicBezTo>
                  <a:pt x="544" y="276"/>
                  <a:pt x="550" y="270"/>
                  <a:pt x="557" y="270"/>
                </a:cubicBezTo>
                <a:cubicBezTo>
                  <a:pt x="564" y="270"/>
                  <a:pt x="570" y="276"/>
                  <a:pt x="570" y="283"/>
                </a:cubicBezTo>
                <a:lnTo>
                  <a:pt x="570" y="376"/>
                </a:lnTo>
                <a:lnTo>
                  <a:pt x="570" y="376"/>
                </a:lnTo>
                <a:close/>
              </a:path>
            </a:pathLst>
          </a:custGeom>
          <a:noFill/>
          <a:ln w="1270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nvGrpSpPr>
          <p:cNvPr id="93" name="Group 4">
            <a:extLst>
              <a:ext uri="{FF2B5EF4-FFF2-40B4-BE49-F238E27FC236}">
                <a16:creationId xmlns:a16="http://schemas.microsoft.com/office/drawing/2014/main" id="{032865B3-74AB-4A4E-8D36-309D202C66B7}"/>
              </a:ext>
            </a:extLst>
          </p:cNvPr>
          <p:cNvGrpSpPr>
            <a:grpSpLocks noChangeAspect="1"/>
          </p:cNvGrpSpPr>
          <p:nvPr/>
        </p:nvGrpSpPr>
        <p:grpSpPr bwMode="auto">
          <a:xfrm>
            <a:off x="909513" y="3619300"/>
            <a:ext cx="972553" cy="892716"/>
            <a:chOff x="2299" y="1462"/>
            <a:chExt cx="268" cy="246"/>
          </a:xfrm>
          <a:solidFill>
            <a:schemeClr val="bg1"/>
          </a:solidFill>
        </p:grpSpPr>
        <p:sp>
          <p:nvSpPr>
            <p:cNvPr id="94" name="Freeform 5">
              <a:extLst>
                <a:ext uri="{FF2B5EF4-FFF2-40B4-BE49-F238E27FC236}">
                  <a16:creationId xmlns:a16="http://schemas.microsoft.com/office/drawing/2014/main" id="{65F185AB-1893-4F9A-9ECE-07D4152B2820}"/>
                </a:ext>
              </a:extLst>
            </p:cNvPr>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96" name="Freeform 6">
              <a:extLst>
                <a:ext uri="{FF2B5EF4-FFF2-40B4-BE49-F238E27FC236}">
                  <a16:creationId xmlns:a16="http://schemas.microsoft.com/office/drawing/2014/main" id="{84C6E5ED-45CC-4B97-BD03-A93AF221FD47}"/>
                </a:ext>
              </a:extLst>
            </p:cNvPr>
            <p:cNvSpPr>
              <a:spLocks/>
            </p:cNvSpPr>
            <p:nvPr/>
          </p:nvSpPr>
          <p:spPr bwMode="auto">
            <a:xfrm>
              <a:off x="2417" y="1499"/>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97" name="Freeform 7">
              <a:extLst>
                <a:ext uri="{FF2B5EF4-FFF2-40B4-BE49-F238E27FC236}">
                  <a16:creationId xmlns:a16="http://schemas.microsoft.com/office/drawing/2014/main" id="{63E9DE74-EC69-4BC5-9FCC-00076CFE403D}"/>
                </a:ext>
              </a:extLst>
            </p:cNvPr>
            <p:cNvSpPr>
              <a:spLocks/>
            </p:cNvSpPr>
            <p:nvPr/>
          </p:nvSpPr>
          <p:spPr bwMode="auto">
            <a:xfrm>
              <a:off x="2463" y="1531"/>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98" name="Freeform 8">
              <a:extLst>
                <a:ext uri="{FF2B5EF4-FFF2-40B4-BE49-F238E27FC236}">
                  <a16:creationId xmlns:a16="http://schemas.microsoft.com/office/drawing/2014/main" id="{F4D9CD1F-5A27-414D-A1D1-A80B90D923F7}"/>
                </a:ext>
              </a:extLst>
            </p:cNvPr>
            <p:cNvSpPr>
              <a:spLocks/>
            </p:cNvSpPr>
            <p:nvPr/>
          </p:nvSpPr>
          <p:spPr bwMode="auto">
            <a:xfrm>
              <a:off x="2413" y="1531"/>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grpSp>
        <p:nvGrpSpPr>
          <p:cNvPr id="99" name="Group 4">
            <a:extLst>
              <a:ext uri="{FF2B5EF4-FFF2-40B4-BE49-F238E27FC236}">
                <a16:creationId xmlns:a16="http://schemas.microsoft.com/office/drawing/2014/main" id="{E4CC8259-33C9-4FD2-BDCF-92A394FD8251}"/>
              </a:ext>
            </a:extLst>
          </p:cNvPr>
          <p:cNvGrpSpPr>
            <a:grpSpLocks noChangeAspect="1"/>
          </p:cNvGrpSpPr>
          <p:nvPr/>
        </p:nvGrpSpPr>
        <p:grpSpPr bwMode="auto">
          <a:xfrm>
            <a:off x="950148" y="5158870"/>
            <a:ext cx="972553" cy="892716"/>
            <a:chOff x="2299" y="1462"/>
            <a:chExt cx="268" cy="246"/>
          </a:xfrm>
          <a:solidFill>
            <a:schemeClr val="bg1"/>
          </a:solidFill>
        </p:grpSpPr>
        <p:sp>
          <p:nvSpPr>
            <p:cNvPr id="108" name="Freeform 5">
              <a:extLst>
                <a:ext uri="{FF2B5EF4-FFF2-40B4-BE49-F238E27FC236}">
                  <a16:creationId xmlns:a16="http://schemas.microsoft.com/office/drawing/2014/main" id="{D7DC55C8-E53C-4F00-AD32-2298D49AF5E0}"/>
                </a:ext>
              </a:extLst>
            </p:cNvPr>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09" name="Freeform 6">
              <a:extLst>
                <a:ext uri="{FF2B5EF4-FFF2-40B4-BE49-F238E27FC236}">
                  <a16:creationId xmlns:a16="http://schemas.microsoft.com/office/drawing/2014/main" id="{A7766180-2F45-4C93-BDC3-193F62FF9F34}"/>
                </a:ext>
              </a:extLst>
            </p:cNvPr>
            <p:cNvSpPr>
              <a:spLocks/>
            </p:cNvSpPr>
            <p:nvPr/>
          </p:nvSpPr>
          <p:spPr bwMode="auto">
            <a:xfrm>
              <a:off x="2389" y="1507"/>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10" name="Freeform 7">
              <a:extLst>
                <a:ext uri="{FF2B5EF4-FFF2-40B4-BE49-F238E27FC236}">
                  <a16:creationId xmlns:a16="http://schemas.microsoft.com/office/drawing/2014/main" id="{CE764321-8AD1-4E7B-9300-6AB68FD136C0}"/>
                </a:ext>
              </a:extLst>
            </p:cNvPr>
            <p:cNvSpPr>
              <a:spLocks/>
            </p:cNvSpPr>
            <p:nvPr/>
          </p:nvSpPr>
          <p:spPr bwMode="auto">
            <a:xfrm>
              <a:off x="2435" y="1539"/>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11" name="Freeform 8">
              <a:extLst>
                <a:ext uri="{FF2B5EF4-FFF2-40B4-BE49-F238E27FC236}">
                  <a16:creationId xmlns:a16="http://schemas.microsoft.com/office/drawing/2014/main" id="{DABFA2E1-8BBC-4257-9324-CA7ABC083B98}"/>
                </a:ext>
              </a:extLst>
            </p:cNvPr>
            <p:cNvSpPr>
              <a:spLocks/>
            </p:cNvSpPr>
            <p:nvPr/>
          </p:nvSpPr>
          <p:spPr bwMode="auto">
            <a:xfrm>
              <a:off x="2385" y="1539"/>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grpSp>
        <p:nvGrpSpPr>
          <p:cNvPr id="112" name="Group 11">
            <a:extLst>
              <a:ext uri="{FF2B5EF4-FFF2-40B4-BE49-F238E27FC236}">
                <a16:creationId xmlns:a16="http://schemas.microsoft.com/office/drawing/2014/main" id="{7F7B782B-E16E-46C9-8132-0175B20FA503}"/>
              </a:ext>
            </a:extLst>
          </p:cNvPr>
          <p:cNvGrpSpPr>
            <a:grpSpLocks noChangeAspect="1"/>
          </p:cNvGrpSpPr>
          <p:nvPr/>
        </p:nvGrpSpPr>
        <p:grpSpPr bwMode="auto">
          <a:xfrm>
            <a:off x="2095496" y="5614788"/>
            <a:ext cx="458148" cy="475955"/>
            <a:chOff x="4743" y="1874"/>
            <a:chExt cx="283" cy="294"/>
          </a:xfrm>
          <a:solidFill>
            <a:schemeClr val="bg1"/>
          </a:solidFill>
        </p:grpSpPr>
        <p:sp>
          <p:nvSpPr>
            <p:cNvPr id="113" name="Freeform 12">
              <a:extLst>
                <a:ext uri="{FF2B5EF4-FFF2-40B4-BE49-F238E27FC236}">
                  <a16:creationId xmlns:a16="http://schemas.microsoft.com/office/drawing/2014/main" id="{D815F5D7-77CF-4005-A2F5-55F1EBB808A9}"/>
                </a:ext>
              </a:extLst>
            </p:cNvPr>
            <p:cNvSpPr>
              <a:spLocks/>
            </p:cNvSpPr>
            <p:nvPr/>
          </p:nvSpPr>
          <p:spPr bwMode="auto">
            <a:xfrm>
              <a:off x="4833" y="2000"/>
              <a:ext cx="19" cy="27"/>
            </a:xfrm>
            <a:custGeom>
              <a:avLst/>
              <a:gdLst>
                <a:gd name="T0" fmla="*/ 7 w 49"/>
                <a:gd name="T1" fmla="*/ 62 h 70"/>
                <a:gd name="T2" fmla="*/ 15 w 49"/>
                <a:gd name="T3" fmla="*/ 68 h 70"/>
                <a:gd name="T4" fmla="*/ 25 w 49"/>
                <a:gd name="T5" fmla="*/ 70 h 70"/>
                <a:gd name="T6" fmla="*/ 34 w 49"/>
                <a:gd name="T7" fmla="*/ 68 h 70"/>
                <a:gd name="T8" fmla="*/ 42 w 49"/>
                <a:gd name="T9" fmla="*/ 62 h 70"/>
                <a:gd name="T10" fmla="*/ 47 w 49"/>
                <a:gd name="T11" fmla="*/ 51 h 70"/>
                <a:gd name="T12" fmla="*/ 49 w 49"/>
                <a:gd name="T13" fmla="*/ 36 h 70"/>
                <a:gd name="T14" fmla="*/ 48 w 49"/>
                <a:gd name="T15" fmla="*/ 22 h 70"/>
                <a:gd name="T16" fmla="*/ 43 w 49"/>
                <a:gd name="T17" fmla="*/ 11 h 70"/>
                <a:gd name="T18" fmla="*/ 36 w 49"/>
                <a:gd name="T19" fmla="*/ 3 h 70"/>
                <a:gd name="T20" fmla="*/ 25 w 49"/>
                <a:gd name="T21" fmla="*/ 0 h 70"/>
                <a:gd name="T22" fmla="*/ 14 w 49"/>
                <a:gd name="T23" fmla="*/ 3 h 70"/>
                <a:gd name="T24" fmla="*/ 6 w 49"/>
                <a:gd name="T25" fmla="*/ 11 h 70"/>
                <a:gd name="T26" fmla="*/ 1 w 49"/>
                <a:gd name="T27" fmla="*/ 22 h 70"/>
                <a:gd name="T28" fmla="*/ 0 w 49"/>
                <a:gd name="T29" fmla="*/ 35 h 70"/>
                <a:gd name="T30" fmla="*/ 2 w 49"/>
                <a:gd name="T31" fmla="*/ 51 h 70"/>
                <a:gd name="T32" fmla="*/ 7 w 49"/>
                <a:gd name="T33"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70">
                  <a:moveTo>
                    <a:pt x="7" y="62"/>
                  </a:moveTo>
                  <a:cubicBezTo>
                    <a:pt x="9" y="65"/>
                    <a:pt x="12" y="67"/>
                    <a:pt x="15" y="68"/>
                  </a:cubicBezTo>
                  <a:cubicBezTo>
                    <a:pt x="18" y="70"/>
                    <a:pt x="21" y="70"/>
                    <a:pt x="25" y="70"/>
                  </a:cubicBezTo>
                  <a:cubicBezTo>
                    <a:pt x="28" y="70"/>
                    <a:pt x="31" y="70"/>
                    <a:pt x="34" y="68"/>
                  </a:cubicBezTo>
                  <a:cubicBezTo>
                    <a:pt x="37" y="67"/>
                    <a:pt x="39" y="65"/>
                    <a:pt x="42" y="62"/>
                  </a:cubicBezTo>
                  <a:cubicBezTo>
                    <a:pt x="44" y="59"/>
                    <a:pt x="46" y="56"/>
                    <a:pt x="47" y="51"/>
                  </a:cubicBezTo>
                  <a:cubicBezTo>
                    <a:pt x="48" y="47"/>
                    <a:pt x="49" y="42"/>
                    <a:pt x="49" y="36"/>
                  </a:cubicBezTo>
                  <a:cubicBezTo>
                    <a:pt x="49" y="31"/>
                    <a:pt x="49" y="27"/>
                    <a:pt x="48" y="22"/>
                  </a:cubicBezTo>
                  <a:cubicBezTo>
                    <a:pt x="47" y="18"/>
                    <a:pt x="45" y="14"/>
                    <a:pt x="43" y="11"/>
                  </a:cubicBezTo>
                  <a:cubicBezTo>
                    <a:pt x="42" y="8"/>
                    <a:pt x="39" y="5"/>
                    <a:pt x="36" y="3"/>
                  </a:cubicBezTo>
                  <a:cubicBezTo>
                    <a:pt x="33" y="1"/>
                    <a:pt x="29" y="0"/>
                    <a:pt x="25" y="0"/>
                  </a:cubicBezTo>
                  <a:cubicBezTo>
                    <a:pt x="21" y="0"/>
                    <a:pt x="17" y="1"/>
                    <a:pt x="14" y="3"/>
                  </a:cubicBezTo>
                  <a:cubicBezTo>
                    <a:pt x="10" y="5"/>
                    <a:pt x="8" y="7"/>
                    <a:pt x="6" y="11"/>
                  </a:cubicBezTo>
                  <a:cubicBezTo>
                    <a:pt x="4" y="14"/>
                    <a:pt x="2" y="18"/>
                    <a:pt x="1" y="22"/>
                  </a:cubicBezTo>
                  <a:cubicBezTo>
                    <a:pt x="0" y="26"/>
                    <a:pt x="0" y="31"/>
                    <a:pt x="0" y="35"/>
                  </a:cubicBezTo>
                  <a:cubicBezTo>
                    <a:pt x="0" y="42"/>
                    <a:pt x="0" y="47"/>
                    <a:pt x="2" y="51"/>
                  </a:cubicBezTo>
                  <a:cubicBezTo>
                    <a:pt x="3" y="56"/>
                    <a:pt x="5" y="59"/>
                    <a:pt x="7" y="62"/>
                  </a:cubicBezTo>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114" name="Freeform 13">
              <a:extLst>
                <a:ext uri="{FF2B5EF4-FFF2-40B4-BE49-F238E27FC236}">
                  <a16:creationId xmlns:a16="http://schemas.microsoft.com/office/drawing/2014/main" id="{4C473BA6-664D-493E-9E89-FBC750FBCA6D}"/>
                </a:ext>
              </a:extLst>
            </p:cNvPr>
            <p:cNvSpPr>
              <a:spLocks noEditPoints="1"/>
            </p:cNvSpPr>
            <p:nvPr/>
          </p:nvSpPr>
          <p:spPr bwMode="auto">
            <a:xfrm>
              <a:off x="4743" y="1874"/>
              <a:ext cx="197" cy="260"/>
            </a:xfrm>
            <a:custGeom>
              <a:avLst/>
              <a:gdLst>
                <a:gd name="T0" fmla="*/ 354 w 502"/>
                <a:gd name="T1" fmla="*/ 522 h 667"/>
                <a:gd name="T2" fmla="*/ 502 w 502"/>
                <a:gd name="T3" fmla="*/ 102 h 667"/>
                <a:gd name="T4" fmla="*/ 0 w 502"/>
                <a:gd name="T5" fmla="*/ 100 h 667"/>
                <a:gd name="T6" fmla="*/ 212 w 502"/>
                <a:gd name="T7" fmla="*/ 667 h 667"/>
                <a:gd name="T8" fmla="*/ 337 w 502"/>
                <a:gd name="T9" fmla="*/ 521 h 667"/>
                <a:gd name="T10" fmla="*/ 340 w 502"/>
                <a:gd name="T11" fmla="*/ 424 h 667"/>
                <a:gd name="T12" fmla="*/ 381 w 502"/>
                <a:gd name="T13" fmla="*/ 290 h 667"/>
                <a:gd name="T14" fmla="*/ 427 w 502"/>
                <a:gd name="T15" fmla="*/ 393 h 667"/>
                <a:gd name="T16" fmla="*/ 427 w 502"/>
                <a:gd name="T17" fmla="*/ 424 h 667"/>
                <a:gd name="T18" fmla="*/ 429 w 502"/>
                <a:gd name="T19" fmla="*/ 91 h 667"/>
                <a:gd name="T20" fmla="*/ 72 w 502"/>
                <a:gd name="T21" fmla="*/ 91 h 667"/>
                <a:gd name="T22" fmla="*/ 176 w 502"/>
                <a:gd name="T23" fmla="*/ 393 h 667"/>
                <a:gd name="T24" fmla="*/ 165 w 502"/>
                <a:gd name="T25" fmla="*/ 412 h 667"/>
                <a:gd name="T26" fmla="*/ 139 w 502"/>
                <a:gd name="T27" fmla="*/ 425 h 667"/>
                <a:gd name="T28" fmla="*/ 106 w 502"/>
                <a:gd name="T29" fmla="*/ 426 h 667"/>
                <a:gd name="T30" fmla="*/ 87 w 502"/>
                <a:gd name="T31" fmla="*/ 422 h 667"/>
                <a:gd name="T32" fmla="*/ 80 w 502"/>
                <a:gd name="T33" fmla="*/ 383 h 667"/>
                <a:gd name="T34" fmla="*/ 97 w 502"/>
                <a:gd name="T35" fmla="*/ 392 h 667"/>
                <a:gd name="T36" fmla="*/ 117 w 502"/>
                <a:gd name="T37" fmla="*/ 397 h 667"/>
                <a:gd name="T38" fmla="*/ 129 w 502"/>
                <a:gd name="T39" fmla="*/ 393 h 667"/>
                <a:gd name="T40" fmla="*/ 131 w 502"/>
                <a:gd name="T41" fmla="*/ 387 h 667"/>
                <a:gd name="T42" fmla="*/ 126 w 502"/>
                <a:gd name="T43" fmla="*/ 378 h 667"/>
                <a:gd name="T44" fmla="*/ 110 w 502"/>
                <a:gd name="T45" fmla="*/ 371 h 667"/>
                <a:gd name="T46" fmla="*/ 85 w 502"/>
                <a:gd name="T47" fmla="*/ 354 h 667"/>
                <a:gd name="T48" fmla="*/ 78 w 502"/>
                <a:gd name="T49" fmla="*/ 331 h 667"/>
                <a:gd name="T50" fmla="*/ 93 w 502"/>
                <a:gd name="T51" fmla="*/ 299 h 667"/>
                <a:gd name="T52" fmla="*/ 132 w 502"/>
                <a:gd name="T53" fmla="*/ 288 h 667"/>
                <a:gd name="T54" fmla="*/ 155 w 502"/>
                <a:gd name="T55" fmla="*/ 290 h 667"/>
                <a:gd name="T56" fmla="*/ 170 w 502"/>
                <a:gd name="T57" fmla="*/ 293 h 667"/>
                <a:gd name="T58" fmla="*/ 163 w 502"/>
                <a:gd name="T59" fmla="*/ 324 h 667"/>
                <a:gd name="T60" fmla="*/ 146 w 502"/>
                <a:gd name="T61" fmla="*/ 319 h 667"/>
                <a:gd name="T62" fmla="*/ 125 w 502"/>
                <a:gd name="T63" fmla="*/ 320 h 667"/>
                <a:gd name="T64" fmla="*/ 122 w 502"/>
                <a:gd name="T65" fmla="*/ 331 h 667"/>
                <a:gd name="T66" fmla="*/ 130 w 502"/>
                <a:gd name="T67" fmla="*/ 338 h 667"/>
                <a:gd name="T68" fmla="*/ 154 w 502"/>
                <a:gd name="T69" fmla="*/ 349 h 667"/>
                <a:gd name="T70" fmla="*/ 174 w 502"/>
                <a:gd name="T71" fmla="*/ 369 h 667"/>
                <a:gd name="T72" fmla="*/ 176 w 502"/>
                <a:gd name="T73" fmla="*/ 393 h 667"/>
                <a:gd name="T74" fmla="*/ 186 w 502"/>
                <a:gd name="T75" fmla="*/ 359 h 667"/>
                <a:gd name="T76" fmla="*/ 205 w 502"/>
                <a:gd name="T77" fmla="*/ 308 h 667"/>
                <a:gd name="T78" fmla="*/ 255 w 502"/>
                <a:gd name="T79" fmla="*/ 288 h 667"/>
                <a:gd name="T80" fmla="*/ 302 w 502"/>
                <a:gd name="T81" fmla="*/ 307 h 667"/>
                <a:gd name="T82" fmla="*/ 321 w 502"/>
                <a:gd name="T83" fmla="*/ 357 h 667"/>
                <a:gd name="T84" fmla="*/ 310 w 502"/>
                <a:gd name="T85" fmla="*/ 396 h 667"/>
                <a:gd name="T86" fmla="*/ 284 w 502"/>
                <a:gd name="T87" fmla="*/ 420 h 667"/>
                <a:gd name="T88" fmla="*/ 278 w 502"/>
                <a:gd name="T89" fmla="*/ 459 h 667"/>
                <a:gd name="T90" fmla="*/ 224 w 502"/>
                <a:gd name="T91" fmla="*/ 421 h 667"/>
                <a:gd name="T92" fmla="*/ 191 w 502"/>
                <a:gd name="T93" fmla="*/ 38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2" h="667">
                  <a:moveTo>
                    <a:pt x="337" y="521"/>
                  </a:moveTo>
                  <a:cubicBezTo>
                    <a:pt x="343" y="521"/>
                    <a:pt x="348" y="521"/>
                    <a:pt x="354" y="522"/>
                  </a:cubicBezTo>
                  <a:cubicBezTo>
                    <a:pt x="382" y="466"/>
                    <a:pt x="438" y="430"/>
                    <a:pt x="502" y="427"/>
                  </a:cubicBezTo>
                  <a:lnTo>
                    <a:pt x="502" y="102"/>
                  </a:lnTo>
                  <a:cubicBezTo>
                    <a:pt x="502" y="50"/>
                    <a:pt x="389" y="0"/>
                    <a:pt x="251" y="0"/>
                  </a:cubicBezTo>
                  <a:cubicBezTo>
                    <a:pt x="113" y="0"/>
                    <a:pt x="0" y="48"/>
                    <a:pt x="0" y="100"/>
                  </a:cubicBezTo>
                  <a:lnTo>
                    <a:pt x="0" y="568"/>
                  </a:lnTo>
                  <a:cubicBezTo>
                    <a:pt x="0" y="615"/>
                    <a:pt x="92" y="659"/>
                    <a:pt x="212" y="667"/>
                  </a:cubicBezTo>
                  <a:cubicBezTo>
                    <a:pt x="211" y="661"/>
                    <a:pt x="211" y="654"/>
                    <a:pt x="211" y="647"/>
                  </a:cubicBezTo>
                  <a:cubicBezTo>
                    <a:pt x="211" y="578"/>
                    <a:pt x="267" y="521"/>
                    <a:pt x="337" y="521"/>
                  </a:cubicBezTo>
                  <a:close/>
                  <a:moveTo>
                    <a:pt x="427" y="424"/>
                  </a:moveTo>
                  <a:lnTo>
                    <a:pt x="340" y="424"/>
                  </a:lnTo>
                  <a:lnTo>
                    <a:pt x="340" y="290"/>
                  </a:lnTo>
                  <a:lnTo>
                    <a:pt x="381" y="290"/>
                  </a:lnTo>
                  <a:lnTo>
                    <a:pt x="381" y="393"/>
                  </a:lnTo>
                  <a:lnTo>
                    <a:pt x="427" y="393"/>
                  </a:lnTo>
                  <a:lnTo>
                    <a:pt x="427" y="424"/>
                  </a:lnTo>
                  <a:lnTo>
                    <a:pt x="427" y="424"/>
                  </a:lnTo>
                  <a:close/>
                  <a:moveTo>
                    <a:pt x="251" y="36"/>
                  </a:moveTo>
                  <a:cubicBezTo>
                    <a:pt x="349" y="36"/>
                    <a:pt x="429" y="61"/>
                    <a:pt x="429" y="91"/>
                  </a:cubicBezTo>
                  <a:cubicBezTo>
                    <a:pt x="429" y="121"/>
                    <a:pt x="349" y="146"/>
                    <a:pt x="251" y="146"/>
                  </a:cubicBezTo>
                  <a:cubicBezTo>
                    <a:pt x="152" y="146"/>
                    <a:pt x="72" y="121"/>
                    <a:pt x="72" y="91"/>
                  </a:cubicBezTo>
                  <a:cubicBezTo>
                    <a:pt x="72" y="61"/>
                    <a:pt x="152" y="36"/>
                    <a:pt x="251" y="36"/>
                  </a:cubicBezTo>
                  <a:close/>
                  <a:moveTo>
                    <a:pt x="176" y="393"/>
                  </a:moveTo>
                  <a:cubicBezTo>
                    <a:pt x="175" y="397"/>
                    <a:pt x="174" y="400"/>
                    <a:pt x="172" y="403"/>
                  </a:cubicBezTo>
                  <a:cubicBezTo>
                    <a:pt x="170" y="406"/>
                    <a:pt x="168" y="409"/>
                    <a:pt x="165" y="412"/>
                  </a:cubicBezTo>
                  <a:cubicBezTo>
                    <a:pt x="162" y="415"/>
                    <a:pt x="159" y="418"/>
                    <a:pt x="154" y="420"/>
                  </a:cubicBezTo>
                  <a:cubicBezTo>
                    <a:pt x="150" y="422"/>
                    <a:pt x="145" y="424"/>
                    <a:pt x="139" y="425"/>
                  </a:cubicBezTo>
                  <a:cubicBezTo>
                    <a:pt x="133" y="426"/>
                    <a:pt x="126" y="427"/>
                    <a:pt x="118" y="427"/>
                  </a:cubicBezTo>
                  <a:cubicBezTo>
                    <a:pt x="114" y="427"/>
                    <a:pt x="110" y="427"/>
                    <a:pt x="106" y="426"/>
                  </a:cubicBezTo>
                  <a:cubicBezTo>
                    <a:pt x="103" y="426"/>
                    <a:pt x="99" y="425"/>
                    <a:pt x="96" y="424"/>
                  </a:cubicBezTo>
                  <a:cubicBezTo>
                    <a:pt x="93" y="424"/>
                    <a:pt x="90" y="423"/>
                    <a:pt x="87" y="422"/>
                  </a:cubicBezTo>
                  <a:cubicBezTo>
                    <a:pt x="84" y="421"/>
                    <a:pt x="82" y="420"/>
                    <a:pt x="80" y="420"/>
                  </a:cubicBezTo>
                  <a:lnTo>
                    <a:pt x="80" y="383"/>
                  </a:lnTo>
                  <a:cubicBezTo>
                    <a:pt x="82" y="384"/>
                    <a:pt x="85" y="386"/>
                    <a:pt x="88" y="388"/>
                  </a:cubicBezTo>
                  <a:cubicBezTo>
                    <a:pt x="91" y="389"/>
                    <a:pt x="94" y="391"/>
                    <a:pt x="97" y="392"/>
                  </a:cubicBezTo>
                  <a:cubicBezTo>
                    <a:pt x="100" y="393"/>
                    <a:pt x="104" y="394"/>
                    <a:pt x="107" y="395"/>
                  </a:cubicBezTo>
                  <a:cubicBezTo>
                    <a:pt x="111" y="396"/>
                    <a:pt x="114" y="397"/>
                    <a:pt x="117" y="397"/>
                  </a:cubicBezTo>
                  <a:cubicBezTo>
                    <a:pt x="120" y="397"/>
                    <a:pt x="123" y="396"/>
                    <a:pt x="124" y="396"/>
                  </a:cubicBezTo>
                  <a:cubicBezTo>
                    <a:pt x="126" y="395"/>
                    <a:pt x="128" y="394"/>
                    <a:pt x="129" y="393"/>
                  </a:cubicBezTo>
                  <a:cubicBezTo>
                    <a:pt x="130" y="393"/>
                    <a:pt x="130" y="392"/>
                    <a:pt x="131" y="391"/>
                  </a:cubicBezTo>
                  <a:cubicBezTo>
                    <a:pt x="131" y="389"/>
                    <a:pt x="131" y="388"/>
                    <a:pt x="131" y="387"/>
                  </a:cubicBezTo>
                  <a:cubicBezTo>
                    <a:pt x="131" y="385"/>
                    <a:pt x="131" y="383"/>
                    <a:pt x="130" y="382"/>
                  </a:cubicBezTo>
                  <a:cubicBezTo>
                    <a:pt x="129" y="380"/>
                    <a:pt x="127" y="379"/>
                    <a:pt x="126" y="378"/>
                  </a:cubicBezTo>
                  <a:cubicBezTo>
                    <a:pt x="124" y="377"/>
                    <a:pt x="121" y="375"/>
                    <a:pt x="119" y="374"/>
                  </a:cubicBezTo>
                  <a:cubicBezTo>
                    <a:pt x="116" y="373"/>
                    <a:pt x="113" y="372"/>
                    <a:pt x="110" y="371"/>
                  </a:cubicBezTo>
                  <a:cubicBezTo>
                    <a:pt x="105" y="369"/>
                    <a:pt x="100" y="366"/>
                    <a:pt x="95" y="363"/>
                  </a:cubicBezTo>
                  <a:cubicBezTo>
                    <a:pt x="91" y="360"/>
                    <a:pt x="88" y="357"/>
                    <a:pt x="85" y="354"/>
                  </a:cubicBezTo>
                  <a:cubicBezTo>
                    <a:pt x="83" y="350"/>
                    <a:pt x="81" y="346"/>
                    <a:pt x="80" y="343"/>
                  </a:cubicBezTo>
                  <a:cubicBezTo>
                    <a:pt x="78" y="339"/>
                    <a:pt x="78" y="335"/>
                    <a:pt x="78" y="331"/>
                  </a:cubicBezTo>
                  <a:cubicBezTo>
                    <a:pt x="78" y="324"/>
                    <a:pt x="79" y="318"/>
                    <a:pt x="82" y="313"/>
                  </a:cubicBezTo>
                  <a:cubicBezTo>
                    <a:pt x="84" y="307"/>
                    <a:pt x="88" y="303"/>
                    <a:pt x="93" y="299"/>
                  </a:cubicBezTo>
                  <a:cubicBezTo>
                    <a:pt x="98" y="296"/>
                    <a:pt x="104" y="293"/>
                    <a:pt x="110" y="291"/>
                  </a:cubicBezTo>
                  <a:cubicBezTo>
                    <a:pt x="117" y="289"/>
                    <a:pt x="124" y="288"/>
                    <a:pt x="132" y="288"/>
                  </a:cubicBezTo>
                  <a:cubicBezTo>
                    <a:pt x="137" y="288"/>
                    <a:pt x="141" y="288"/>
                    <a:pt x="145" y="288"/>
                  </a:cubicBezTo>
                  <a:cubicBezTo>
                    <a:pt x="149" y="289"/>
                    <a:pt x="152" y="289"/>
                    <a:pt x="155" y="290"/>
                  </a:cubicBezTo>
                  <a:cubicBezTo>
                    <a:pt x="158" y="290"/>
                    <a:pt x="161" y="291"/>
                    <a:pt x="163" y="291"/>
                  </a:cubicBezTo>
                  <a:cubicBezTo>
                    <a:pt x="166" y="292"/>
                    <a:pt x="168" y="292"/>
                    <a:pt x="170" y="293"/>
                  </a:cubicBezTo>
                  <a:lnTo>
                    <a:pt x="170" y="327"/>
                  </a:lnTo>
                  <a:cubicBezTo>
                    <a:pt x="168" y="326"/>
                    <a:pt x="166" y="325"/>
                    <a:pt x="163" y="324"/>
                  </a:cubicBezTo>
                  <a:cubicBezTo>
                    <a:pt x="161" y="323"/>
                    <a:pt x="158" y="322"/>
                    <a:pt x="155" y="321"/>
                  </a:cubicBezTo>
                  <a:cubicBezTo>
                    <a:pt x="152" y="320"/>
                    <a:pt x="149" y="319"/>
                    <a:pt x="146" y="319"/>
                  </a:cubicBezTo>
                  <a:cubicBezTo>
                    <a:pt x="143" y="318"/>
                    <a:pt x="140" y="318"/>
                    <a:pt x="136" y="318"/>
                  </a:cubicBezTo>
                  <a:cubicBezTo>
                    <a:pt x="132" y="318"/>
                    <a:pt x="128" y="319"/>
                    <a:pt x="125" y="320"/>
                  </a:cubicBezTo>
                  <a:cubicBezTo>
                    <a:pt x="123" y="322"/>
                    <a:pt x="121" y="324"/>
                    <a:pt x="121" y="327"/>
                  </a:cubicBezTo>
                  <a:cubicBezTo>
                    <a:pt x="121" y="329"/>
                    <a:pt x="122" y="330"/>
                    <a:pt x="122" y="331"/>
                  </a:cubicBezTo>
                  <a:cubicBezTo>
                    <a:pt x="123" y="333"/>
                    <a:pt x="124" y="334"/>
                    <a:pt x="125" y="335"/>
                  </a:cubicBezTo>
                  <a:cubicBezTo>
                    <a:pt x="126" y="336"/>
                    <a:pt x="128" y="337"/>
                    <a:pt x="130" y="338"/>
                  </a:cubicBezTo>
                  <a:cubicBezTo>
                    <a:pt x="133" y="339"/>
                    <a:pt x="135" y="340"/>
                    <a:pt x="138" y="341"/>
                  </a:cubicBezTo>
                  <a:cubicBezTo>
                    <a:pt x="144" y="344"/>
                    <a:pt x="149" y="346"/>
                    <a:pt x="154" y="349"/>
                  </a:cubicBezTo>
                  <a:cubicBezTo>
                    <a:pt x="159" y="351"/>
                    <a:pt x="163" y="354"/>
                    <a:pt x="166" y="358"/>
                  </a:cubicBezTo>
                  <a:cubicBezTo>
                    <a:pt x="169" y="361"/>
                    <a:pt x="172" y="365"/>
                    <a:pt x="174" y="369"/>
                  </a:cubicBezTo>
                  <a:cubicBezTo>
                    <a:pt x="176" y="373"/>
                    <a:pt x="177" y="378"/>
                    <a:pt x="177" y="384"/>
                  </a:cubicBezTo>
                  <a:cubicBezTo>
                    <a:pt x="177" y="387"/>
                    <a:pt x="176" y="390"/>
                    <a:pt x="176" y="393"/>
                  </a:cubicBezTo>
                  <a:close/>
                  <a:moveTo>
                    <a:pt x="191" y="386"/>
                  </a:moveTo>
                  <a:cubicBezTo>
                    <a:pt x="187" y="378"/>
                    <a:pt x="186" y="369"/>
                    <a:pt x="186" y="359"/>
                  </a:cubicBezTo>
                  <a:cubicBezTo>
                    <a:pt x="186" y="348"/>
                    <a:pt x="187" y="339"/>
                    <a:pt x="191" y="330"/>
                  </a:cubicBezTo>
                  <a:cubicBezTo>
                    <a:pt x="194" y="321"/>
                    <a:pt x="199" y="314"/>
                    <a:pt x="205" y="308"/>
                  </a:cubicBezTo>
                  <a:cubicBezTo>
                    <a:pt x="211" y="301"/>
                    <a:pt x="218" y="296"/>
                    <a:pt x="227" y="293"/>
                  </a:cubicBezTo>
                  <a:cubicBezTo>
                    <a:pt x="235" y="290"/>
                    <a:pt x="245" y="288"/>
                    <a:pt x="255" y="288"/>
                  </a:cubicBezTo>
                  <a:cubicBezTo>
                    <a:pt x="264" y="288"/>
                    <a:pt x="273" y="289"/>
                    <a:pt x="281" y="293"/>
                  </a:cubicBezTo>
                  <a:cubicBezTo>
                    <a:pt x="289" y="296"/>
                    <a:pt x="296" y="300"/>
                    <a:pt x="302" y="307"/>
                  </a:cubicBezTo>
                  <a:cubicBezTo>
                    <a:pt x="308" y="312"/>
                    <a:pt x="313" y="320"/>
                    <a:pt x="316" y="328"/>
                  </a:cubicBezTo>
                  <a:cubicBezTo>
                    <a:pt x="319" y="337"/>
                    <a:pt x="321" y="346"/>
                    <a:pt x="321" y="357"/>
                  </a:cubicBezTo>
                  <a:cubicBezTo>
                    <a:pt x="321" y="365"/>
                    <a:pt x="320" y="372"/>
                    <a:pt x="318" y="378"/>
                  </a:cubicBezTo>
                  <a:cubicBezTo>
                    <a:pt x="316" y="385"/>
                    <a:pt x="314" y="391"/>
                    <a:pt x="310" y="396"/>
                  </a:cubicBezTo>
                  <a:cubicBezTo>
                    <a:pt x="307" y="402"/>
                    <a:pt x="303" y="406"/>
                    <a:pt x="299" y="410"/>
                  </a:cubicBezTo>
                  <a:cubicBezTo>
                    <a:pt x="294" y="414"/>
                    <a:pt x="289" y="418"/>
                    <a:pt x="284" y="420"/>
                  </a:cubicBezTo>
                  <a:lnTo>
                    <a:pt x="329" y="459"/>
                  </a:lnTo>
                  <a:lnTo>
                    <a:pt x="278" y="459"/>
                  </a:lnTo>
                  <a:lnTo>
                    <a:pt x="248" y="427"/>
                  </a:lnTo>
                  <a:cubicBezTo>
                    <a:pt x="239" y="426"/>
                    <a:pt x="231" y="424"/>
                    <a:pt x="224" y="421"/>
                  </a:cubicBezTo>
                  <a:cubicBezTo>
                    <a:pt x="216" y="418"/>
                    <a:pt x="210" y="413"/>
                    <a:pt x="204" y="407"/>
                  </a:cubicBezTo>
                  <a:cubicBezTo>
                    <a:pt x="198" y="402"/>
                    <a:pt x="194" y="395"/>
                    <a:pt x="191" y="386"/>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115" name="Freeform 14">
              <a:extLst>
                <a:ext uri="{FF2B5EF4-FFF2-40B4-BE49-F238E27FC236}">
                  <a16:creationId xmlns:a16="http://schemas.microsoft.com/office/drawing/2014/main" id="{DB4E28A5-83BA-41F7-B922-6FE4282DA9D9}"/>
                </a:ext>
              </a:extLst>
            </p:cNvPr>
            <p:cNvSpPr>
              <a:spLocks noEditPoints="1"/>
            </p:cNvSpPr>
            <p:nvPr/>
          </p:nvSpPr>
          <p:spPr bwMode="auto">
            <a:xfrm>
              <a:off x="4833" y="2047"/>
              <a:ext cx="193" cy="121"/>
            </a:xfrm>
            <a:custGeom>
              <a:avLst/>
              <a:gdLst>
                <a:gd name="T0" fmla="*/ 492 w 492"/>
                <a:gd name="T1" fmla="*/ 249 h 312"/>
                <a:gd name="T2" fmla="*/ 433 w 492"/>
                <a:gd name="T3" fmla="*/ 185 h 312"/>
                <a:gd name="T4" fmla="*/ 436 w 492"/>
                <a:gd name="T5" fmla="*/ 155 h 312"/>
                <a:gd name="T6" fmla="*/ 281 w 492"/>
                <a:gd name="T7" fmla="*/ 0 h 312"/>
                <a:gd name="T8" fmla="*/ 136 w 492"/>
                <a:gd name="T9" fmla="*/ 98 h 312"/>
                <a:gd name="T10" fmla="*/ 109 w 492"/>
                <a:gd name="T11" fmla="*/ 94 h 312"/>
                <a:gd name="T12" fmla="*/ 0 w 492"/>
                <a:gd name="T13" fmla="*/ 203 h 312"/>
                <a:gd name="T14" fmla="*/ 107 w 492"/>
                <a:gd name="T15" fmla="*/ 312 h 312"/>
                <a:gd name="T16" fmla="*/ 433 w 492"/>
                <a:gd name="T17" fmla="*/ 312 h 312"/>
                <a:gd name="T18" fmla="*/ 446 w 492"/>
                <a:gd name="T19" fmla="*/ 312 h 312"/>
                <a:gd name="T20" fmla="*/ 445 w 492"/>
                <a:gd name="T21" fmla="*/ 310 h 312"/>
                <a:gd name="T22" fmla="*/ 492 w 492"/>
                <a:gd name="T23" fmla="*/ 249 h 312"/>
                <a:gd name="T24" fmla="*/ 433 w 492"/>
                <a:gd name="T25" fmla="*/ 295 h 312"/>
                <a:gd name="T26" fmla="*/ 109 w 492"/>
                <a:gd name="T27" fmla="*/ 295 h 312"/>
                <a:gd name="T28" fmla="*/ 17 w 492"/>
                <a:gd name="T29" fmla="*/ 203 h 312"/>
                <a:gd name="T30" fmla="*/ 109 w 492"/>
                <a:gd name="T31" fmla="*/ 112 h 312"/>
                <a:gd name="T32" fmla="*/ 139 w 492"/>
                <a:gd name="T33" fmla="*/ 117 h 312"/>
                <a:gd name="T34" fmla="*/ 147 w 492"/>
                <a:gd name="T35" fmla="*/ 120 h 312"/>
                <a:gd name="T36" fmla="*/ 150 w 492"/>
                <a:gd name="T37" fmla="*/ 111 h 312"/>
                <a:gd name="T38" fmla="*/ 281 w 492"/>
                <a:gd name="T39" fmla="*/ 17 h 312"/>
                <a:gd name="T40" fmla="*/ 419 w 492"/>
                <a:gd name="T41" fmla="*/ 155 h 312"/>
                <a:gd name="T42" fmla="*/ 414 w 492"/>
                <a:gd name="T43" fmla="*/ 192 h 312"/>
                <a:gd name="T44" fmla="*/ 410 w 492"/>
                <a:gd name="T45" fmla="*/ 204 h 312"/>
                <a:gd name="T46" fmla="*/ 423 w 492"/>
                <a:gd name="T47" fmla="*/ 203 h 312"/>
                <a:gd name="T48" fmla="*/ 429 w 492"/>
                <a:gd name="T49" fmla="*/ 202 h 312"/>
                <a:gd name="T50" fmla="*/ 475 w 492"/>
                <a:gd name="T51" fmla="*/ 249 h 312"/>
                <a:gd name="T52" fmla="*/ 433 w 492"/>
                <a:gd name="T53" fmla="*/ 29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2" h="312">
                  <a:moveTo>
                    <a:pt x="492" y="249"/>
                  </a:moveTo>
                  <a:cubicBezTo>
                    <a:pt x="492" y="215"/>
                    <a:pt x="466" y="187"/>
                    <a:pt x="433" y="185"/>
                  </a:cubicBezTo>
                  <a:cubicBezTo>
                    <a:pt x="435" y="175"/>
                    <a:pt x="436" y="165"/>
                    <a:pt x="436" y="155"/>
                  </a:cubicBezTo>
                  <a:cubicBezTo>
                    <a:pt x="436" y="70"/>
                    <a:pt x="366" y="0"/>
                    <a:pt x="281" y="0"/>
                  </a:cubicBezTo>
                  <a:cubicBezTo>
                    <a:pt x="217" y="0"/>
                    <a:pt x="160" y="39"/>
                    <a:pt x="136" y="98"/>
                  </a:cubicBezTo>
                  <a:cubicBezTo>
                    <a:pt x="127" y="96"/>
                    <a:pt x="118" y="94"/>
                    <a:pt x="109" y="94"/>
                  </a:cubicBezTo>
                  <a:cubicBezTo>
                    <a:pt x="49" y="94"/>
                    <a:pt x="0" y="143"/>
                    <a:pt x="0" y="203"/>
                  </a:cubicBezTo>
                  <a:cubicBezTo>
                    <a:pt x="0" y="262"/>
                    <a:pt x="47" y="311"/>
                    <a:pt x="107" y="312"/>
                  </a:cubicBezTo>
                  <a:lnTo>
                    <a:pt x="433" y="312"/>
                  </a:lnTo>
                  <a:lnTo>
                    <a:pt x="446" y="312"/>
                  </a:lnTo>
                  <a:lnTo>
                    <a:pt x="445" y="310"/>
                  </a:lnTo>
                  <a:cubicBezTo>
                    <a:pt x="472" y="303"/>
                    <a:pt x="492" y="278"/>
                    <a:pt x="492" y="249"/>
                  </a:cubicBezTo>
                  <a:close/>
                  <a:moveTo>
                    <a:pt x="433" y="295"/>
                  </a:moveTo>
                  <a:lnTo>
                    <a:pt x="109" y="295"/>
                  </a:lnTo>
                  <a:cubicBezTo>
                    <a:pt x="58" y="295"/>
                    <a:pt x="17" y="254"/>
                    <a:pt x="17" y="203"/>
                  </a:cubicBezTo>
                  <a:cubicBezTo>
                    <a:pt x="17" y="153"/>
                    <a:pt x="58" y="112"/>
                    <a:pt x="109" y="112"/>
                  </a:cubicBezTo>
                  <a:cubicBezTo>
                    <a:pt x="119" y="112"/>
                    <a:pt x="129" y="113"/>
                    <a:pt x="139" y="117"/>
                  </a:cubicBezTo>
                  <a:lnTo>
                    <a:pt x="147" y="120"/>
                  </a:lnTo>
                  <a:lnTo>
                    <a:pt x="150" y="111"/>
                  </a:lnTo>
                  <a:cubicBezTo>
                    <a:pt x="169" y="55"/>
                    <a:pt x="221" y="17"/>
                    <a:pt x="281" y="17"/>
                  </a:cubicBezTo>
                  <a:cubicBezTo>
                    <a:pt x="357" y="17"/>
                    <a:pt x="419" y="79"/>
                    <a:pt x="419" y="155"/>
                  </a:cubicBezTo>
                  <a:cubicBezTo>
                    <a:pt x="419" y="167"/>
                    <a:pt x="417" y="180"/>
                    <a:pt x="414" y="192"/>
                  </a:cubicBezTo>
                  <a:lnTo>
                    <a:pt x="410" y="204"/>
                  </a:lnTo>
                  <a:lnTo>
                    <a:pt x="423" y="203"/>
                  </a:lnTo>
                  <a:cubicBezTo>
                    <a:pt x="425" y="202"/>
                    <a:pt x="427" y="202"/>
                    <a:pt x="429" y="202"/>
                  </a:cubicBezTo>
                  <a:cubicBezTo>
                    <a:pt x="454" y="202"/>
                    <a:pt x="475" y="223"/>
                    <a:pt x="475" y="249"/>
                  </a:cubicBezTo>
                  <a:cubicBezTo>
                    <a:pt x="475" y="272"/>
                    <a:pt x="456" y="293"/>
                    <a:pt x="433" y="295"/>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grpSp>
      <p:sp>
        <p:nvSpPr>
          <p:cNvPr id="119" name="TextBox 118">
            <a:extLst>
              <a:ext uri="{FF2B5EF4-FFF2-40B4-BE49-F238E27FC236}">
                <a16:creationId xmlns:a16="http://schemas.microsoft.com/office/drawing/2014/main" id="{27E15FD7-6B8D-4E8C-97EE-CE6E9E6667CC}"/>
              </a:ext>
            </a:extLst>
          </p:cNvPr>
          <p:cNvSpPr txBox="1"/>
          <p:nvPr/>
        </p:nvSpPr>
        <p:spPr>
          <a:xfrm>
            <a:off x="512177" y="3518142"/>
            <a:ext cx="546170" cy="1044094"/>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dirty="0">
                <a:solidFill>
                  <a:srgbClr val="FFFFFF"/>
                </a:solidFill>
                <a:latin typeface="Segoe UI Semilight"/>
              </a:rPr>
              <a:t>Web App</a:t>
            </a:r>
          </a:p>
        </p:txBody>
      </p:sp>
      <p:sp>
        <p:nvSpPr>
          <p:cNvPr id="120" name="TextBox 119">
            <a:extLst>
              <a:ext uri="{FF2B5EF4-FFF2-40B4-BE49-F238E27FC236}">
                <a16:creationId xmlns:a16="http://schemas.microsoft.com/office/drawing/2014/main" id="{A2FF8D26-EBB9-46C2-A109-9A6289913E14}"/>
              </a:ext>
            </a:extLst>
          </p:cNvPr>
          <p:cNvSpPr txBox="1"/>
          <p:nvPr/>
        </p:nvSpPr>
        <p:spPr>
          <a:xfrm>
            <a:off x="552812" y="5158868"/>
            <a:ext cx="546170" cy="892717"/>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dirty="0">
                <a:solidFill>
                  <a:srgbClr val="FFFFFF"/>
                </a:solidFill>
                <a:latin typeface="Segoe UI Semilight"/>
              </a:rPr>
              <a:t>SQL</a:t>
            </a:r>
          </a:p>
        </p:txBody>
      </p:sp>
      <p:sp>
        <p:nvSpPr>
          <p:cNvPr id="121" name="Rectangle 120">
            <a:extLst>
              <a:ext uri="{FF2B5EF4-FFF2-40B4-BE49-F238E27FC236}">
                <a16:creationId xmlns:a16="http://schemas.microsoft.com/office/drawing/2014/main" id="{EA5249C1-1890-42C5-8051-FE75A20B1211}"/>
              </a:ext>
            </a:extLst>
          </p:cNvPr>
          <p:cNvSpPr/>
          <p:nvPr/>
        </p:nvSpPr>
        <p:spPr bwMode="auto">
          <a:xfrm>
            <a:off x="438095" y="3452498"/>
            <a:ext cx="7174584" cy="1143316"/>
          </a:xfrm>
          <a:prstGeom prst="rect">
            <a:avLst/>
          </a:prstGeom>
          <a:noFill/>
          <a:ln w="25400" cap="rnd" cmpd="sng">
            <a:solidFill>
              <a:schemeClr val="bg1"/>
            </a:solidFill>
            <a:prstDash val="sys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TextBox 121">
            <a:extLst>
              <a:ext uri="{FF2B5EF4-FFF2-40B4-BE49-F238E27FC236}">
                <a16:creationId xmlns:a16="http://schemas.microsoft.com/office/drawing/2014/main" id="{FBD1E143-71C4-450D-94A3-34B20CC2CDAA}"/>
              </a:ext>
            </a:extLst>
          </p:cNvPr>
          <p:cNvSpPr txBox="1"/>
          <p:nvPr/>
        </p:nvSpPr>
        <p:spPr>
          <a:xfrm>
            <a:off x="7476799" y="3382657"/>
            <a:ext cx="715704" cy="1143316"/>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a:solidFill>
                  <a:srgbClr val="FFFFFF"/>
                </a:solidFill>
                <a:latin typeface="Segoe UI Semilight"/>
              </a:rPr>
              <a:t>Front End Subnet</a:t>
            </a:r>
          </a:p>
        </p:txBody>
      </p:sp>
      <p:sp>
        <p:nvSpPr>
          <p:cNvPr id="123" name="Rectangle 122">
            <a:extLst>
              <a:ext uri="{FF2B5EF4-FFF2-40B4-BE49-F238E27FC236}">
                <a16:creationId xmlns:a16="http://schemas.microsoft.com/office/drawing/2014/main" id="{A6FD59C9-4CCA-42F4-807C-BBCAF8C2040B}"/>
              </a:ext>
            </a:extLst>
          </p:cNvPr>
          <p:cNvSpPr/>
          <p:nvPr/>
        </p:nvSpPr>
        <p:spPr bwMode="auto">
          <a:xfrm>
            <a:off x="438095" y="5058570"/>
            <a:ext cx="7174584" cy="1088287"/>
          </a:xfrm>
          <a:prstGeom prst="rect">
            <a:avLst/>
          </a:prstGeom>
          <a:noFill/>
          <a:ln w="25400" cap="rnd" cmpd="sng">
            <a:solidFill>
              <a:schemeClr val="bg1"/>
            </a:solidFill>
            <a:prstDash val="sys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Rounded Corners 123">
            <a:extLst>
              <a:ext uri="{FF2B5EF4-FFF2-40B4-BE49-F238E27FC236}">
                <a16:creationId xmlns:a16="http://schemas.microsoft.com/office/drawing/2014/main" id="{7D422AF3-B473-47B0-AB86-F77679F3F880}"/>
              </a:ext>
            </a:extLst>
          </p:cNvPr>
          <p:cNvSpPr/>
          <p:nvPr/>
        </p:nvSpPr>
        <p:spPr bwMode="auto">
          <a:xfrm>
            <a:off x="3206625" y="2508004"/>
            <a:ext cx="1897354" cy="424208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0" numCol="1" spcCol="0" rtlCol="0" fromWordArt="0" anchor="b"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r>
              <a:rPr lang="en-US" sz="1224" b="1">
                <a:solidFill>
                  <a:srgbClr val="FFFFFF"/>
                </a:solidFill>
                <a:latin typeface="Segoe UI Semilight"/>
                <a:ea typeface="Segoe UI" pitchFamily="34" charset="0"/>
                <a:cs typeface="Segoe UI" pitchFamily="34" charset="0"/>
              </a:rPr>
              <a:t>Availability Zone 2</a:t>
            </a:r>
          </a:p>
        </p:txBody>
      </p:sp>
      <p:sp>
        <p:nvSpPr>
          <p:cNvPr id="134" name="Freeform 14">
            <a:extLst>
              <a:ext uri="{FF2B5EF4-FFF2-40B4-BE49-F238E27FC236}">
                <a16:creationId xmlns:a16="http://schemas.microsoft.com/office/drawing/2014/main" id="{E0327D69-A06F-4C47-9A12-419A0C45E969}"/>
              </a:ext>
            </a:extLst>
          </p:cNvPr>
          <p:cNvSpPr>
            <a:spLocks noEditPoints="1"/>
          </p:cNvSpPr>
          <p:nvPr/>
        </p:nvSpPr>
        <p:spPr bwMode="auto">
          <a:xfrm>
            <a:off x="3583172" y="2635341"/>
            <a:ext cx="760881" cy="505095"/>
          </a:xfrm>
          <a:custGeom>
            <a:avLst/>
            <a:gdLst>
              <a:gd name="T0" fmla="*/ 832 w 833"/>
              <a:gd name="T1" fmla="*/ 496 h 552"/>
              <a:gd name="T2" fmla="*/ 757 w 833"/>
              <a:gd name="T3" fmla="*/ 22 h 552"/>
              <a:gd name="T4" fmla="*/ 734 w 833"/>
              <a:gd name="T5" fmla="*/ 0 h 552"/>
              <a:gd name="T6" fmla="*/ 108 w 833"/>
              <a:gd name="T7" fmla="*/ 0 h 552"/>
              <a:gd name="T8" fmla="*/ 85 w 833"/>
              <a:gd name="T9" fmla="*/ 22 h 552"/>
              <a:gd name="T10" fmla="*/ 1 w 833"/>
              <a:gd name="T11" fmla="*/ 497 h 552"/>
              <a:gd name="T12" fmla="*/ 1 w 833"/>
              <a:gd name="T13" fmla="*/ 496 h 552"/>
              <a:gd name="T14" fmla="*/ 1 w 833"/>
              <a:gd name="T15" fmla="*/ 498 h 552"/>
              <a:gd name="T16" fmla="*/ 0 w 833"/>
              <a:gd name="T17" fmla="*/ 500 h 552"/>
              <a:gd name="T18" fmla="*/ 1 w 833"/>
              <a:gd name="T19" fmla="*/ 501 h 552"/>
              <a:gd name="T20" fmla="*/ 0 w 833"/>
              <a:gd name="T21" fmla="*/ 509 h 552"/>
              <a:gd name="T22" fmla="*/ 36 w 833"/>
              <a:gd name="T23" fmla="*/ 552 h 552"/>
              <a:gd name="T24" fmla="*/ 36 w 833"/>
              <a:gd name="T25" fmla="*/ 552 h 552"/>
              <a:gd name="T26" fmla="*/ 797 w 833"/>
              <a:gd name="T27" fmla="*/ 552 h 552"/>
              <a:gd name="T28" fmla="*/ 832 w 833"/>
              <a:gd name="T29" fmla="*/ 509 h 552"/>
              <a:gd name="T30" fmla="*/ 832 w 833"/>
              <a:gd name="T31" fmla="*/ 496 h 552"/>
              <a:gd name="T32" fmla="*/ 570 w 833"/>
              <a:gd name="T33" fmla="*/ 376 h 552"/>
              <a:gd name="T34" fmla="*/ 478 w 833"/>
              <a:gd name="T35" fmla="*/ 376 h 552"/>
              <a:gd name="T36" fmla="*/ 465 w 833"/>
              <a:gd name="T37" fmla="*/ 362 h 552"/>
              <a:gd name="T38" fmla="*/ 478 w 833"/>
              <a:gd name="T39" fmla="*/ 349 h 552"/>
              <a:gd name="T40" fmla="*/ 522 w 833"/>
              <a:gd name="T41" fmla="*/ 349 h 552"/>
              <a:gd name="T42" fmla="*/ 418 w 833"/>
              <a:gd name="T43" fmla="*/ 245 h 552"/>
              <a:gd name="T44" fmla="*/ 418 w 833"/>
              <a:gd name="T45" fmla="*/ 453 h 552"/>
              <a:gd name="T46" fmla="*/ 450 w 833"/>
              <a:gd name="T47" fmla="*/ 420 h 552"/>
              <a:gd name="T48" fmla="*/ 469 w 833"/>
              <a:gd name="T49" fmla="*/ 420 h 552"/>
              <a:gd name="T50" fmla="*/ 469 w 833"/>
              <a:gd name="T51" fmla="*/ 439 h 552"/>
              <a:gd name="T52" fmla="*/ 404 w 833"/>
              <a:gd name="T53" fmla="*/ 504 h 552"/>
              <a:gd name="T54" fmla="*/ 339 w 833"/>
              <a:gd name="T55" fmla="*/ 439 h 552"/>
              <a:gd name="T56" fmla="*/ 335 w 833"/>
              <a:gd name="T57" fmla="*/ 430 h 552"/>
              <a:gd name="T58" fmla="*/ 339 w 833"/>
              <a:gd name="T59" fmla="*/ 420 h 552"/>
              <a:gd name="T60" fmla="*/ 358 w 833"/>
              <a:gd name="T61" fmla="*/ 420 h 552"/>
              <a:gd name="T62" fmla="*/ 391 w 833"/>
              <a:gd name="T63" fmla="*/ 454 h 552"/>
              <a:gd name="T64" fmla="*/ 391 w 833"/>
              <a:gd name="T65" fmla="*/ 245 h 552"/>
              <a:gd name="T66" fmla="*/ 287 w 833"/>
              <a:gd name="T67" fmla="*/ 349 h 552"/>
              <a:gd name="T68" fmla="*/ 334 w 833"/>
              <a:gd name="T69" fmla="*/ 349 h 552"/>
              <a:gd name="T70" fmla="*/ 347 w 833"/>
              <a:gd name="T71" fmla="*/ 362 h 552"/>
              <a:gd name="T72" fmla="*/ 334 w 833"/>
              <a:gd name="T73" fmla="*/ 376 h 552"/>
              <a:gd name="T74" fmla="*/ 242 w 833"/>
              <a:gd name="T75" fmla="*/ 376 h 552"/>
              <a:gd name="T76" fmla="*/ 242 w 833"/>
              <a:gd name="T77" fmla="*/ 284 h 552"/>
              <a:gd name="T78" fmla="*/ 255 w 833"/>
              <a:gd name="T79" fmla="*/ 270 h 552"/>
              <a:gd name="T80" fmla="*/ 269 w 833"/>
              <a:gd name="T81" fmla="*/ 284 h 552"/>
              <a:gd name="T82" fmla="*/ 269 w 833"/>
              <a:gd name="T83" fmla="*/ 330 h 552"/>
              <a:gd name="T84" fmla="*/ 391 w 833"/>
              <a:gd name="T85" fmla="*/ 207 h 552"/>
              <a:gd name="T86" fmla="*/ 391 w 833"/>
              <a:gd name="T87" fmla="*/ 143 h 552"/>
              <a:gd name="T88" fmla="*/ 362 w 833"/>
              <a:gd name="T89" fmla="*/ 103 h 552"/>
              <a:gd name="T90" fmla="*/ 405 w 833"/>
              <a:gd name="T91" fmla="*/ 61 h 552"/>
              <a:gd name="T92" fmla="*/ 447 w 833"/>
              <a:gd name="T93" fmla="*/ 103 h 552"/>
              <a:gd name="T94" fmla="*/ 418 w 833"/>
              <a:gd name="T95" fmla="*/ 143 h 552"/>
              <a:gd name="T96" fmla="*/ 418 w 833"/>
              <a:gd name="T97" fmla="*/ 207 h 552"/>
              <a:gd name="T98" fmla="*/ 544 w 833"/>
              <a:gd name="T99" fmla="*/ 333 h 552"/>
              <a:gd name="T100" fmla="*/ 544 w 833"/>
              <a:gd name="T101" fmla="*/ 283 h 552"/>
              <a:gd name="T102" fmla="*/ 557 w 833"/>
              <a:gd name="T103" fmla="*/ 270 h 552"/>
              <a:gd name="T104" fmla="*/ 570 w 833"/>
              <a:gd name="T105" fmla="*/ 283 h 552"/>
              <a:gd name="T106" fmla="*/ 570 w 833"/>
              <a:gd name="T107" fmla="*/ 376 h 552"/>
              <a:gd name="T108" fmla="*/ 570 w 833"/>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3" h="552">
                <a:moveTo>
                  <a:pt x="832" y="496"/>
                </a:moveTo>
                <a:lnTo>
                  <a:pt x="757" y="22"/>
                </a:lnTo>
                <a:cubicBezTo>
                  <a:pt x="755" y="2"/>
                  <a:pt x="739" y="0"/>
                  <a:pt x="734" y="0"/>
                </a:cubicBezTo>
                <a:lnTo>
                  <a:pt x="108" y="0"/>
                </a:lnTo>
                <a:cubicBezTo>
                  <a:pt x="103" y="0"/>
                  <a:pt x="86" y="2"/>
                  <a:pt x="85" y="22"/>
                </a:cubicBezTo>
                <a:lnTo>
                  <a:pt x="1" y="497"/>
                </a:lnTo>
                <a:lnTo>
                  <a:pt x="1" y="496"/>
                </a:lnTo>
                <a:cubicBezTo>
                  <a:pt x="1" y="497"/>
                  <a:pt x="1" y="497"/>
                  <a:pt x="1" y="498"/>
                </a:cubicBezTo>
                <a:lnTo>
                  <a:pt x="0" y="500"/>
                </a:lnTo>
                <a:lnTo>
                  <a:pt x="1" y="501"/>
                </a:lnTo>
                <a:cubicBezTo>
                  <a:pt x="1" y="503"/>
                  <a:pt x="0" y="506"/>
                  <a:pt x="0" y="509"/>
                </a:cubicBezTo>
                <a:cubicBezTo>
                  <a:pt x="0" y="544"/>
                  <a:pt x="29" y="552"/>
                  <a:pt x="36" y="552"/>
                </a:cubicBezTo>
                <a:lnTo>
                  <a:pt x="36" y="552"/>
                </a:lnTo>
                <a:lnTo>
                  <a:pt x="797" y="552"/>
                </a:lnTo>
                <a:cubicBezTo>
                  <a:pt x="803" y="552"/>
                  <a:pt x="832" y="545"/>
                  <a:pt x="832" y="509"/>
                </a:cubicBezTo>
                <a:cubicBezTo>
                  <a:pt x="833" y="505"/>
                  <a:pt x="832" y="500"/>
                  <a:pt x="832" y="496"/>
                </a:cubicBezTo>
                <a:close/>
                <a:moveTo>
                  <a:pt x="570" y="376"/>
                </a:moveTo>
                <a:lnTo>
                  <a:pt x="478" y="376"/>
                </a:lnTo>
                <a:cubicBezTo>
                  <a:pt x="471" y="376"/>
                  <a:pt x="465" y="370"/>
                  <a:pt x="465" y="362"/>
                </a:cubicBezTo>
                <a:cubicBezTo>
                  <a:pt x="465" y="355"/>
                  <a:pt x="471" y="349"/>
                  <a:pt x="478" y="349"/>
                </a:cubicBezTo>
                <a:lnTo>
                  <a:pt x="522" y="349"/>
                </a:lnTo>
                <a:lnTo>
                  <a:pt x="418" y="245"/>
                </a:lnTo>
                <a:lnTo>
                  <a:pt x="418" y="453"/>
                </a:lnTo>
                <a:lnTo>
                  <a:pt x="450" y="420"/>
                </a:lnTo>
                <a:cubicBezTo>
                  <a:pt x="456" y="415"/>
                  <a:pt x="464" y="415"/>
                  <a:pt x="469" y="420"/>
                </a:cubicBezTo>
                <a:cubicBezTo>
                  <a:pt x="474" y="425"/>
                  <a:pt x="474" y="434"/>
                  <a:pt x="469" y="439"/>
                </a:cubicBezTo>
                <a:lnTo>
                  <a:pt x="404" y="504"/>
                </a:lnTo>
                <a:lnTo>
                  <a:pt x="339" y="439"/>
                </a:lnTo>
                <a:cubicBezTo>
                  <a:pt x="336" y="436"/>
                  <a:pt x="335" y="433"/>
                  <a:pt x="335" y="430"/>
                </a:cubicBezTo>
                <a:cubicBezTo>
                  <a:pt x="335" y="426"/>
                  <a:pt x="336" y="423"/>
                  <a:pt x="339" y="420"/>
                </a:cubicBezTo>
                <a:cubicBezTo>
                  <a:pt x="344" y="415"/>
                  <a:pt x="353" y="415"/>
                  <a:pt x="358" y="420"/>
                </a:cubicBezTo>
                <a:lnTo>
                  <a:pt x="391" y="454"/>
                </a:lnTo>
                <a:lnTo>
                  <a:pt x="391" y="245"/>
                </a:lnTo>
                <a:lnTo>
                  <a:pt x="287" y="349"/>
                </a:lnTo>
                <a:lnTo>
                  <a:pt x="334" y="349"/>
                </a:lnTo>
                <a:cubicBezTo>
                  <a:pt x="341" y="349"/>
                  <a:pt x="347" y="355"/>
                  <a:pt x="347" y="362"/>
                </a:cubicBezTo>
                <a:cubicBezTo>
                  <a:pt x="347" y="370"/>
                  <a:pt x="341" y="376"/>
                  <a:pt x="334" y="376"/>
                </a:cubicBezTo>
                <a:lnTo>
                  <a:pt x="242" y="376"/>
                </a:lnTo>
                <a:lnTo>
                  <a:pt x="242" y="284"/>
                </a:lnTo>
                <a:cubicBezTo>
                  <a:pt x="242" y="276"/>
                  <a:pt x="248" y="270"/>
                  <a:pt x="255" y="270"/>
                </a:cubicBezTo>
                <a:cubicBezTo>
                  <a:pt x="263" y="270"/>
                  <a:pt x="269" y="276"/>
                  <a:pt x="269" y="284"/>
                </a:cubicBezTo>
                <a:lnTo>
                  <a:pt x="269" y="330"/>
                </a:lnTo>
                <a:lnTo>
                  <a:pt x="391" y="207"/>
                </a:lnTo>
                <a:lnTo>
                  <a:pt x="391" y="143"/>
                </a:lnTo>
                <a:cubicBezTo>
                  <a:pt x="375" y="137"/>
                  <a:pt x="362" y="121"/>
                  <a:pt x="362" y="103"/>
                </a:cubicBezTo>
                <a:cubicBezTo>
                  <a:pt x="362" y="79"/>
                  <a:pt x="381" y="61"/>
                  <a:pt x="405" y="61"/>
                </a:cubicBezTo>
                <a:cubicBezTo>
                  <a:pt x="428" y="61"/>
                  <a:pt x="447" y="79"/>
                  <a:pt x="447" y="103"/>
                </a:cubicBezTo>
                <a:cubicBezTo>
                  <a:pt x="447" y="121"/>
                  <a:pt x="435" y="137"/>
                  <a:pt x="418" y="143"/>
                </a:cubicBezTo>
                <a:lnTo>
                  <a:pt x="418" y="207"/>
                </a:lnTo>
                <a:lnTo>
                  <a:pt x="544" y="333"/>
                </a:lnTo>
                <a:lnTo>
                  <a:pt x="544" y="283"/>
                </a:lnTo>
                <a:cubicBezTo>
                  <a:pt x="544" y="276"/>
                  <a:pt x="550" y="270"/>
                  <a:pt x="557" y="270"/>
                </a:cubicBezTo>
                <a:cubicBezTo>
                  <a:pt x="564" y="270"/>
                  <a:pt x="570" y="276"/>
                  <a:pt x="570" y="283"/>
                </a:cubicBezTo>
                <a:lnTo>
                  <a:pt x="570" y="376"/>
                </a:lnTo>
                <a:lnTo>
                  <a:pt x="570" y="376"/>
                </a:lnTo>
                <a:close/>
              </a:path>
            </a:pathLst>
          </a:custGeom>
          <a:noFill/>
          <a:ln w="1270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nvGrpSpPr>
          <p:cNvPr id="137" name="Group 4">
            <a:extLst>
              <a:ext uri="{FF2B5EF4-FFF2-40B4-BE49-F238E27FC236}">
                <a16:creationId xmlns:a16="http://schemas.microsoft.com/office/drawing/2014/main" id="{63E7DAD4-2A46-4063-BCFF-B2B3CBAB5181}"/>
              </a:ext>
            </a:extLst>
          </p:cNvPr>
          <p:cNvGrpSpPr>
            <a:grpSpLocks noChangeAspect="1"/>
          </p:cNvGrpSpPr>
          <p:nvPr/>
        </p:nvGrpSpPr>
        <p:grpSpPr bwMode="auto">
          <a:xfrm>
            <a:off x="3470079" y="5121023"/>
            <a:ext cx="972553" cy="892716"/>
            <a:chOff x="2299" y="1462"/>
            <a:chExt cx="268" cy="246"/>
          </a:xfrm>
          <a:solidFill>
            <a:schemeClr val="bg1"/>
          </a:solidFill>
        </p:grpSpPr>
        <p:sp>
          <p:nvSpPr>
            <p:cNvPr id="138" name="Freeform 5">
              <a:extLst>
                <a:ext uri="{FF2B5EF4-FFF2-40B4-BE49-F238E27FC236}">
                  <a16:creationId xmlns:a16="http://schemas.microsoft.com/office/drawing/2014/main" id="{EA8705F7-047A-4B01-9656-54415BE84BB3}"/>
                </a:ext>
              </a:extLst>
            </p:cNvPr>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39" name="Freeform 6">
              <a:extLst>
                <a:ext uri="{FF2B5EF4-FFF2-40B4-BE49-F238E27FC236}">
                  <a16:creationId xmlns:a16="http://schemas.microsoft.com/office/drawing/2014/main" id="{A86747A1-96B9-4C94-9E36-2CDC993B806E}"/>
                </a:ext>
              </a:extLst>
            </p:cNvPr>
            <p:cNvSpPr>
              <a:spLocks/>
            </p:cNvSpPr>
            <p:nvPr/>
          </p:nvSpPr>
          <p:spPr bwMode="auto">
            <a:xfrm>
              <a:off x="2389" y="1507"/>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40" name="Freeform 7">
              <a:extLst>
                <a:ext uri="{FF2B5EF4-FFF2-40B4-BE49-F238E27FC236}">
                  <a16:creationId xmlns:a16="http://schemas.microsoft.com/office/drawing/2014/main" id="{CA771F61-3CF5-403F-AC8F-BEAD54204FE1}"/>
                </a:ext>
              </a:extLst>
            </p:cNvPr>
            <p:cNvSpPr>
              <a:spLocks/>
            </p:cNvSpPr>
            <p:nvPr/>
          </p:nvSpPr>
          <p:spPr bwMode="auto">
            <a:xfrm>
              <a:off x="2435" y="1539"/>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41" name="Freeform 8">
              <a:extLst>
                <a:ext uri="{FF2B5EF4-FFF2-40B4-BE49-F238E27FC236}">
                  <a16:creationId xmlns:a16="http://schemas.microsoft.com/office/drawing/2014/main" id="{59A1D3AD-8133-48E2-9703-98831E43318D}"/>
                </a:ext>
              </a:extLst>
            </p:cNvPr>
            <p:cNvSpPr>
              <a:spLocks/>
            </p:cNvSpPr>
            <p:nvPr/>
          </p:nvSpPr>
          <p:spPr bwMode="auto">
            <a:xfrm>
              <a:off x="2385" y="1539"/>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grpSp>
        <p:nvGrpSpPr>
          <p:cNvPr id="142" name="Group 11">
            <a:extLst>
              <a:ext uri="{FF2B5EF4-FFF2-40B4-BE49-F238E27FC236}">
                <a16:creationId xmlns:a16="http://schemas.microsoft.com/office/drawing/2014/main" id="{DC76C26B-086F-41D3-91F7-C95178E4EDB2}"/>
              </a:ext>
            </a:extLst>
          </p:cNvPr>
          <p:cNvGrpSpPr>
            <a:grpSpLocks noChangeAspect="1"/>
          </p:cNvGrpSpPr>
          <p:nvPr/>
        </p:nvGrpSpPr>
        <p:grpSpPr bwMode="auto">
          <a:xfrm>
            <a:off x="4615427" y="5576941"/>
            <a:ext cx="458148" cy="475955"/>
            <a:chOff x="4743" y="1874"/>
            <a:chExt cx="283" cy="294"/>
          </a:xfrm>
          <a:solidFill>
            <a:schemeClr val="bg1"/>
          </a:solidFill>
        </p:grpSpPr>
        <p:sp>
          <p:nvSpPr>
            <p:cNvPr id="148" name="Freeform 12">
              <a:extLst>
                <a:ext uri="{FF2B5EF4-FFF2-40B4-BE49-F238E27FC236}">
                  <a16:creationId xmlns:a16="http://schemas.microsoft.com/office/drawing/2014/main" id="{7A518E45-7B8A-4E2C-8ED7-1AF59048B207}"/>
                </a:ext>
              </a:extLst>
            </p:cNvPr>
            <p:cNvSpPr>
              <a:spLocks/>
            </p:cNvSpPr>
            <p:nvPr/>
          </p:nvSpPr>
          <p:spPr bwMode="auto">
            <a:xfrm>
              <a:off x="4833" y="2000"/>
              <a:ext cx="19" cy="27"/>
            </a:xfrm>
            <a:custGeom>
              <a:avLst/>
              <a:gdLst>
                <a:gd name="T0" fmla="*/ 7 w 49"/>
                <a:gd name="T1" fmla="*/ 62 h 70"/>
                <a:gd name="T2" fmla="*/ 15 w 49"/>
                <a:gd name="T3" fmla="*/ 68 h 70"/>
                <a:gd name="T4" fmla="*/ 25 w 49"/>
                <a:gd name="T5" fmla="*/ 70 h 70"/>
                <a:gd name="T6" fmla="*/ 34 w 49"/>
                <a:gd name="T7" fmla="*/ 68 h 70"/>
                <a:gd name="T8" fmla="*/ 42 w 49"/>
                <a:gd name="T9" fmla="*/ 62 h 70"/>
                <a:gd name="T10" fmla="*/ 47 w 49"/>
                <a:gd name="T11" fmla="*/ 51 h 70"/>
                <a:gd name="T12" fmla="*/ 49 w 49"/>
                <a:gd name="T13" fmla="*/ 36 h 70"/>
                <a:gd name="T14" fmla="*/ 48 w 49"/>
                <a:gd name="T15" fmla="*/ 22 h 70"/>
                <a:gd name="T16" fmla="*/ 43 w 49"/>
                <a:gd name="T17" fmla="*/ 11 h 70"/>
                <a:gd name="T18" fmla="*/ 36 w 49"/>
                <a:gd name="T19" fmla="*/ 3 h 70"/>
                <a:gd name="T20" fmla="*/ 25 w 49"/>
                <a:gd name="T21" fmla="*/ 0 h 70"/>
                <a:gd name="T22" fmla="*/ 14 w 49"/>
                <a:gd name="T23" fmla="*/ 3 h 70"/>
                <a:gd name="T24" fmla="*/ 6 w 49"/>
                <a:gd name="T25" fmla="*/ 11 h 70"/>
                <a:gd name="T26" fmla="*/ 1 w 49"/>
                <a:gd name="T27" fmla="*/ 22 h 70"/>
                <a:gd name="T28" fmla="*/ 0 w 49"/>
                <a:gd name="T29" fmla="*/ 35 h 70"/>
                <a:gd name="T30" fmla="*/ 2 w 49"/>
                <a:gd name="T31" fmla="*/ 51 h 70"/>
                <a:gd name="T32" fmla="*/ 7 w 49"/>
                <a:gd name="T33"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70">
                  <a:moveTo>
                    <a:pt x="7" y="62"/>
                  </a:moveTo>
                  <a:cubicBezTo>
                    <a:pt x="9" y="65"/>
                    <a:pt x="12" y="67"/>
                    <a:pt x="15" y="68"/>
                  </a:cubicBezTo>
                  <a:cubicBezTo>
                    <a:pt x="18" y="70"/>
                    <a:pt x="21" y="70"/>
                    <a:pt x="25" y="70"/>
                  </a:cubicBezTo>
                  <a:cubicBezTo>
                    <a:pt x="28" y="70"/>
                    <a:pt x="31" y="70"/>
                    <a:pt x="34" y="68"/>
                  </a:cubicBezTo>
                  <a:cubicBezTo>
                    <a:pt x="37" y="67"/>
                    <a:pt x="39" y="65"/>
                    <a:pt x="42" y="62"/>
                  </a:cubicBezTo>
                  <a:cubicBezTo>
                    <a:pt x="44" y="59"/>
                    <a:pt x="46" y="56"/>
                    <a:pt x="47" y="51"/>
                  </a:cubicBezTo>
                  <a:cubicBezTo>
                    <a:pt x="48" y="47"/>
                    <a:pt x="49" y="42"/>
                    <a:pt x="49" y="36"/>
                  </a:cubicBezTo>
                  <a:cubicBezTo>
                    <a:pt x="49" y="31"/>
                    <a:pt x="49" y="27"/>
                    <a:pt x="48" y="22"/>
                  </a:cubicBezTo>
                  <a:cubicBezTo>
                    <a:pt x="47" y="18"/>
                    <a:pt x="45" y="14"/>
                    <a:pt x="43" y="11"/>
                  </a:cubicBezTo>
                  <a:cubicBezTo>
                    <a:pt x="42" y="8"/>
                    <a:pt x="39" y="5"/>
                    <a:pt x="36" y="3"/>
                  </a:cubicBezTo>
                  <a:cubicBezTo>
                    <a:pt x="33" y="1"/>
                    <a:pt x="29" y="0"/>
                    <a:pt x="25" y="0"/>
                  </a:cubicBezTo>
                  <a:cubicBezTo>
                    <a:pt x="21" y="0"/>
                    <a:pt x="17" y="1"/>
                    <a:pt x="14" y="3"/>
                  </a:cubicBezTo>
                  <a:cubicBezTo>
                    <a:pt x="10" y="5"/>
                    <a:pt x="8" y="7"/>
                    <a:pt x="6" y="11"/>
                  </a:cubicBezTo>
                  <a:cubicBezTo>
                    <a:pt x="4" y="14"/>
                    <a:pt x="2" y="18"/>
                    <a:pt x="1" y="22"/>
                  </a:cubicBezTo>
                  <a:cubicBezTo>
                    <a:pt x="0" y="26"/>
                    <a:pt x="0" y="31"/>
                    <a:pt x="0" y="35"/>
                  </a:cubicBezTo>
                  <a:cubicBezTo>
                    <a:pt x="0" y="42"/>
                    <a:pt x="0" y="47"/>
                    <a:pt x="2" y="51"/>
                  </a:cubicBezTo>
                  <a:cubicBezTo>
                    <a:pt x="3" y="56"/>
                    <a:pt x="5" y="59"/>
                    <a:pt x="7" y="62"/>
                  </a:cubicBezTo>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149" name="Freeform 13">
              <a:extLst>
                <a:ext uri="{FF2B5EF4-FFF2-40B4-BE49-F238E27FC236}">
                  <a16:creationId xmlns:a16="http://schemas.microsoft.com/office/drawing/2014/main" id="{CB354EF4-B378-432D-AF4F-B0D6D4F22F5A}"/>
                </a:ext>
              </a:extLst>
            </p:cNvPr>
            <p:cNvSpPr>
              <a:spLocks noEditPoints="1"/>
            </p:cNvSpPr>
            <p:nvPr/>
          </p:nvSpPr>
          <p:spPr bwMode="auto">
            <a:xfrm>
              <a:off x="4743" y="1874"/>
              <a:ext cx="197" cy="260"/>
            </a:xfrm>
            <a:custGeom>
              <a:avLst/>
              <a:gdLst>
                <a:gd name="T0" fmla="*/ 354 w 502"/>
                <a:gd name="T1" fmla="*/ 522 h 667"/>
                <a:gd name="T2" fmla="*/ 502 w 502"/>
                <a:gd name="T3" fmla="*/ 102 h 667"/>
                <a:gd name="T4" fmla="*/ 0 w 502"/>
                <a:gd name="T5" fmla="*/ 100 h 667"/>
                <a:gd name="T6" fmla="*/ 212 w 502"/>
                <a:gd name="T7" fmla="*/ 667 h 667"/>
                <a:gd name="T8" fmla="*/ 337 w 502"/>
                <a:gd name="T9" fmla="*/ 521 h 667"/>
                <a:gd name="T10" fmla="*/ 340 w 502"/>
                <a:gd name="T11" fmla="*/ 424 h 667"/>
                <a:gd name="T12" fmla="*/ 381 w 502"/>
                <a:gd name="T13" fmla="*/ 290 h 667"/>
                <a:gd name="T14" fmla="*/ 427 w 502"/>
                <a:gd name="T15" fmla="*/ 393 h 667"/>
                <a:gd name="T16" fmla="*/ 427 w 502"/>
                <a:gd name="T17" fmla="*/ 424 h 667"/>
                <a:gd name="T18" fmla="*/ 429 w 502"/>
                <a:gd name="T19" fmla="*/ 91 h 667"/>
                <a:gd name="T20" fmla="*/ 72 w 502"/>
                <a:gd name="T21" fmla="*/ 91 h 667"/>
                <a:gd name="T22" fmla="*/ 176 w 502"/>
                <a:gd name="T23" fmla="*/ 393 h 667"/>
                <a:gd name="T24" fmla="*/ 165 w 502"/>
                <a:gd name="T25" fmla="*/ 412 h 667"/>
                <a:gd name="T26" fmla="*/ 139 w 502"/>
                <a:gd name="T27" fmla="*/ 425 h 667"/>
                <a:gd name="T28" fmla="*/ 106 w 502"/>
                <a:gd name="T29" fmla="*/ 426 h 667"/>
                <a:gd name="T30" fmla="*/ 87 w 502"/>
                <a:gd name="T31" fmla="*/ 422 h 667"/>
                <a:gd name="T32" fmla="*/ 80 w 502"/>
                <a:gd name="T33" fmla="*/ 383 h 667"/>
                <a:gd name="T34" fmla="*/ 97 w 502"/>
                <a:gd name="T35" fmla="*/ 392 h 667"/>
                <a:gd name="T36" fmla="*/ 117 w 502"/>
                <a:gd name="T37" fmla="*/ 397 h 667"/>
                <a:gd name="T38" fmla="*/ 129 w 502"/>
                <a:gd name="T39" fmla="*/ 393 h 667"/>
                <a:gd name="T40" fmla="*/ 131 w 502"/>
                <a:gd name="T41" fmla="*/ 387 h 667"/>
                <a:gd name="T42" fmla="*/ 126 w 502"/>
                <a:gd name="T43" fmla="*/ 378 h 667"/>
                <a:gd name="T44" fmla="*/ 110 w 502"/>
                <a:gd name="T45" fmla="*/ 371 h 667"/>
                <a:gd name="T46" fmla="*/ 85 w 502"/>
                <a:gd name="T47" fmla="*/ 354 h 667"/>
                <a:gd name="T48" fmla="*/ 78 w 502"/>
                <a:gd name="T49" fmla="*/ 331 h 667"/>
                <a:gd name="T50" fmla="*/ 93 w 502"/>
                <a:gd name="T51" fmla="*/ 299 h 667"/>
                <a:gd name="T52" fmla="*/ 132 w 502"/>
                <a:gd name="T53" fmla="*/ 288 h 667"/>
                <a:gd name="T54" fmla="*/ 155 w 502"/>
                <a:gd name="T55" fmla="*/ 290 h 667"/>
                <a:gd name="T56" fmla="*/ 170 w 502"/>
                <a:gd name="T57" fmla="*/ 293 h 667"/>
                <a:gd name="T58" fmla="*/ 163 w 502"/>
                <a:gd name="T59" fmla="*/ 324 h 667"/>
                <a:gd name="T60" fmla="*/ 146 w 502"/>
                <a:gd name="T61" fmla="*/ 319 h 667"/>
                <a:gd name="T62" fmla="*/ 125 w 502"/>
                <a:gd name="T63" fmla="*/ 320 h 667"/>
                <a:gd name="T64" fmla="*/ 122 w 502"/>
                <a:gd name="T65" fmla="*/ 331 h 667"/>
                <a:gd name="T66" fmla="*/ 130 w 502"/>
                <a:gd name="T67" fmla="*/ 338 h 667"/>
                <a:gd name="T68" fmla="*/ 154 w 502"/>
                <a:gd name="T69" fmla="*/ 349 h 667"/>
                <a:gd name="T70" fmla="*/ 174 w 502"/>
                <a:gd name="T71" fmla="*/ 369 h 667"/>
                <a:gd name="T72" fmla="*/ 176 w 502"/>
                <a:gd name="T73" fmla="*/ 393 h 667"/>
                <a:gd name="T74" fmla="*/ 186 w 502"/>
                <a:gd name="T75" fmla="*/ 359 h 667"/>
                <a:gd name="T76" fmla="*/ 205 w 502"/>
                <a:gd name="T77" fmla="*/ 308 h 667"/>
                <a:gd name="T78" fmla="*/ 255 w 502"/>
                <a:gd name="T79" fmla="*/ 288 h 667"/>
                <a:gd name="T80" fmla="*/ 302 w 502"/>
                <a:gd name="T81" fmla="*/ 307 h 667"/>
                <a:gd name="T82" fmla="*/ 321 w 502"/>
                <a:gd name="T83" fmla="*/ 357 h 667"/>
                <a:gd name="T84" fmla="*/ 310 w 502"/>
                <a:gd name="T85" fmla="*/ 396 h 667"/>
                <a:gd name="T86" fmla="*/ 284 w 502"/>
                <a:gd name="T87" fmla="*/ 420 h 667"/>
                <a:gd name="T88" fmla="*/ 278 w 502"/>
                <a:gd name="T89" fmla="*/ 459 h 667"/>
                <a:gd name="T90" fmla="*/ 224 w 502"/>
                <a:gd name="T91" fmla="*/ 421 h 667"/>
                <a:gd name="T92" fmla="*/ 191 w 502"/>
                <a:gd name="T93" fmla="*/ 38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2" h="667">
                  <a:moveTo>
                    <a:pt x="337" y="521"/>
                  </a:moveTo>
                  <a:cubicBezTo>
                    <a:pt x="343" y="521"/>
                    <a:pt x="348" y="521"/>
                    <a:pt x="354" y="522"/>
                  </a:cubicBezTo>
                  <a:cubicBezTo>
                    <a:pt x="382" y="466"/>
                    <a:pt x="438" y="430"/>
                    <a:pt x="502" y="427"/>
                  </a:cubicBezTo>
                  <a:lnTo>
                    <a:pt x="502" y="102"/>
                  </a:lnTo>
                  <a:cubicBezTo>
                    <a:pt x="502" y="50"/>
                    <a:pt x="389" y="0"/>
                    <a:pt x="251" y="0"/>
                  </a:cubicBezTo>
                  <a:cubicBezTo>
                    <a:pt x="113" y="0"/>
                    <a:pt x="0" y="48"/>
                    <a:pt x="0" y="100"/>
                  </a:cubicBezTo>
                  <a:lnTo>
                    <a:pt x="0" y="568"/>
                  </a:lnTo>
                  <a:cubicBezTo>
                    <a:pt x="0" y="615"/>
                    <a:pt x="92" y="659"/>
                    <a:pt x="212" y="667"/>
                  </a:cubicBezTo>
                  <a:cubicBezTo>
                    <a:pt x="211" y="661"/>
                    <a:pt x="211" y="654"/>
                    <a:pt x="211" y="647"/>
                  </a:cubicBezTo>
                  <a:cubicBezTo>
                    <a:pt x="211" y="578"/>
                    <a:pt x="267" y="521"/>
                    <a:pt x="337" y="521"/>
                  </a:cubicBezTo>
                  <a:close/>
                  <a:moveTo>
                    <a:pt x="427" y="424"/>
                  </a:moveTo>
                  <a:lnTo>
                    <a:pt x="340" y="424"/>
                  </a:lnTo>
                  <a:lnTo>
                    <a:pt x="340" y="290"/>
                  </a:lnTo>
                  <a:lnTo>
                    <a:pt x="381" y="290"/>
                  </a:lnTo>
                  <a:lnTo>
                    <a:pt x="381" y="393"/>
                  </a:lnTo>
                  <a:lnTo>
                    <a:pt x="427" y="393"/>
                  </a:lnTo>
                  <a:lnTo>
                    <a:pt x="427" y="424"/>
                  </a:lnTo>
                  <a:lnTo>
                    <a:pt x="427" y="424"/>
                  </a:lnTo>
                  <a:close/>
                  <a:moveTo>
                    <a:pt x="251" y="36"/>
                  </a:moveTo>
                  <a:cubicBezTo>
                    <a:pt x="349" y="36"/>
                    <a:pt x="429" y="61"/>
                    <a:pt x="429" y="91"/>
                  </a:cubicBezTo>
                  <a:cubicBezTo>
                    <a:pt x="429" y="121"/>
                    <a:pt x="349" y="146"/>
                    <a:pt x="251" y="146"/>
                  </a:cubicBezTo>
                  <a:cubicBezTo>
                    <a:pt x="152" y="146"/>
                    <a:pt x="72" y="121"/>
                    <a:pt x="72" y="91"/>
                  </a:cubicBezTo>
                  <a:cubicBezTo>
                    <a:pt x="72" y="61"/>
                    <a:pt x="152" y="36"/>
                    <a:pt x="251" y="36"/>
                  </a:cubicBezTo>
                  <a:close/>
                  <a:moveTo>
                    <a:pt x="176" y="393"/>
                  </a:moveTo>
                  <a:cubicBezTo>
                    <a:pt x="175" y="397"/>
                    <a:pt x="174" y="400"/>
                    <a:pt x="172" y="403"/>
                  </a:cubicBezTo>
                  <a:cubicBezTo>
                    <a:pt x="170" y="406"/>
                    <a:pt x="168" y="409"/>
                    <a:pt x="165" y="412"/>
                  </a:cubicBezTo>
                  <a:cubicBezTo>
                    <a:pt x="162" y="415"/>
                    <a:pt x="159" y="418"/>
                    <a:pt x="154" y="420"/>
                  </a:cubicBezTo>
                  <a:cubicBezTo>
                    <a:pt x="150" y="422"/>
                    <a:pt x="145" y="424"/>
                    <a:pt x="139" y="425"/>
                  </a:cubicBezTo>
                  <a:cubicBezTo>
                    <a:pt x="133" y="426"/>
                    <a:pt x="126" y="427"/>
                    <a:pt x="118" y="427"/>
                  </a:cubicBezTo>
                  <a:cubicBezTo>
                    <a:pt x="114" y="427"/>
                    <a:pt x="110" y="427"/>
                    <a:pt x="106" y="426"/>
                  </a:cubicBezTo>
                  <a:cubicBezTo>
                    <a:pt x="103" y="426"/>
                    <a:pt x="99" y="425"/>
                    <a:pt x="96" y="424"/>
                  </a:cubicBezTo>
                  <a:cubicBezTo>
                    <a:pt x="93" y="424"/>
                    <a:pt x="90" y="423"/>
                    <a:pt x="87" y="422"/>
                  </a:cubicBezTo>
                  <a:cubicBezTo>
                    <a:pt x="84" y="421"/>
                    <a:pt x="82" y="420"/>
                    <a:pt x="80" y="420"/>
                  </a:cubicBezTo>
                  <a:lnTo>
                    <a:pt x="80" y="383"/>
                  </a:lnTo>
                  <a:cubicBezTo>
                    <a:pt x="82" y="384"/>
                    <a:pt x="85" y="386"/>
                    <a:pt x="88" y="388"/>
                  </a:cubicBezTo>
                  <a:cubicBezTo>
                    <a:pt x="91" y="389"/>
                    <a:pt x="94" y="391"/>
                    <a:pt x="97" y="392"/>
                  </a:cubicBezTo>
                  <a:cubicBezTo>
                    <a:pt x="100" y="393"/>
                    <a:pt x="104" y="394"/>
                    <a:pt x="107" y="395"/>
                  </a:cubicBezTo>
                  <a:cubicBezTo>
                    <a:pt x="111" y="396"/>
                    <a:pt x="114" y="397"/>
                    <a:pt x="117" y="397"/>
                  </a:cubicBezTo>
                  <a:cubicBezTo>
                    <a:pt x="120" y="397"/>
                    <a:pt x="123" y="396"/>
                    <a:pt x="124" y="396"/>
                  </a:cubicBezTo>
                  <a:cubicBezTo>
                    <a:pt x="126" y="395"/>
                    <a:pt x="128" y="394"/>
                    <a:pt x="129" y="393"/>
                  </a:cubicBezTo>
                  <a:cubicBezTo>
                    <a:pt x="130" y="393"/>
                    <a:pt x="130" y="392"/>
                    <a:pt x="131" y="391"/>
                  </a:cubicBezTo>
                  <a:cubicBezTo>
                    <a:pt x="131" y="389"/>
                    <a:pt x="131" y="388"/>
                    <a:pt x="131" y="387"/>
                  </a:cubicBezTo>
                  <a:cubicBezTo>
                    <a:pt x="131" y="385"/>
                    <a:pt x="131" y="383"/>
                    <a:pt x="130" y="382"/>
                  </a:cubicBezTo>
                  <a:cubicBezTo>
                    <a:pt x="129" y="380"/>
                    <a:pt x="127" y="379"/>
                    <a:pt x="126" y="378"/>
                  </a:cubicBezTo>
                  <a:cubicBezTo>
                    <a:pt x="124" y="377"/>
                    <a:pt x="121" y="375"/>
                    <a:pt x="119" y="374"/>
                  </a:cubicBezTo>
                  <a:cubicBezTo>
                    <a:pt x="116" y="373"/>
                    <a:pt x="113" y="372"/>
                    <a:pt x="110" y="371"/>
                  </a:cubicBezTo>
                  <a:cubicBezTo>
                    <a:pt x="105" y="369"/>
                    <a:pt x="100" y="366"/>
                    <a:pt x="95" y="363"/>
                  </a:cubicBezTo>
                  <a:cubicBezTo>
                    <a:pt x="91" y="360"/>
                    <a:pt x="88" y="357"/>
                    <a:pt x="85" y="354"/>
                  </a:cubicBezTo>
                  <a:cubicBezTo>
                    <a:pt x="83" y="350"/>
                    <a:pt x="81" y="346"/>
                    <a:pt x="80" y="343"/>
                  </a:cubicBezTo>
                  <a:cubicBezTo>
                    <a:pt x="78" y="339"/>
                    <a:pt x="78" y="335"/>
                    <a:pt x="78" y="331"/>
                  </a:cubicBezTo>
                  <a:cubicBezTo>
                    <a:pt x="78" y="324"/>
                    <a:pt x="79" y="318"/>
                    <a:pt x="82" y="313"/>
                  </a:cubicBezTo>
                  <a:cubicBezTo>
                    <a:pt x="84" y="307"/>
                    <a:pt x="88" y="303"/>
                    <a:pt x="93" y="299"/>
                  </a:cubicBezTo>
                  <a:cubicBezTo>
                    <a:pt x="98" y="296"/>
                    <a:pt x="104" y="293"/>
                    <a:pt x="110" y="291"/>
                  </a:cubicBezTo>
                  <a:cubicBezTo>
                    <a:pt x="117" y="289"/>
                    <a:pt x="124" y="288"/>
                    <a:pt x="132" y="288"/>
                  </a:cubicBezTo>
                  <a:cubicBezTo>
                    <a:pt x="137" y="288"/>
                    <a:pt x="141" y="288"/>
                    <a:pt x="145" y="288"/>
                  </a:cubicBezTo>
                  <a:cubicBezTo>
                    <a:pt x="149" y="289"/>
                    <a:pt x="152" y="289"/>
                    <a:pt x="155" y="290"/>
                  </a:cubicBezTo>
                  <a:cubicBezTo>
                    <a:pt x="158" y="290"/>
                    <a:pt x="161" y="291"/>
                    <a:pt x="163" y="291"/>
                  </a:cubicBezTo>
                  <a:cubicBezTo>
                    <a:pt x="166" y="292"/>
                    <a:pt x="168" y="292"/>
                    <a:pt x="170" y="293"/>
                  </a:cubicBezTo>
                  <a:lnTo>
                    <a:pt x="170" y="327"/>
                  </a:lnTo>
                  <a:cubicBezTo>
                    <a:pt x="168" y="326"/>
                    <a:pt x="166" y="325"/>
                    <a:pt x="163" y="324"/>
                  </a:cubicBezTo>
                  <a:cubicBezTo>
                    <a:pt x="161" y="323"/>
                    <a:pt x="158" y="322"/>
                    <a:pt x="155" y="321"/>
                  </a:cubicBezTo>
                  <a:cubicBezTo>
                    <a:pt x="152" y="320"/>
                    <a:pt x="149" y="319"/>
                    <a:pt x="146" y="319"/>
                  </a:cubicBezTo>
                  <a:cubicBezTo>
                    <a:pt x="143" y="318"/>
                    <a:pt x="140" y="318"/>
                    <a:pt x="136" y="318"/>
                  </a:cubicBezTo>
                  <a:cubicBezTo>
                    <a:pt x="132" y="318"/>
                    <a:pt x="128" y="319"/>
                    <a:pt x="125" y="320"/>
                  </a:cubicBezTo>
                  <a:cubicBezTo>
                    <a:pt x="123" y="322"/>
                    <a:pt x="121" y="324"/>
                    <a:pt x="121" y="327"/>
                  </a:cubicBezTo>
                  <a:cubicBezTo>
                    <a:pt x="121" y="329"/>
                    <a:pt x="122" y="330"/>
                    <a:pt x="122" y="331"/>
                  </a:cubicBezTo>
                  <a:cubicBezTo>
                    <a:pt x="123" y="333"/>
                    <a:pt x="124" y="334"/>
                    <a:pt x="125" y="335"/>
                  </a:cubicBezTo>
                  <a:cubicBezTo>
                    <a:pt x="126" y="336"/>
                    <a:pt x="128" y="337"/>
                    <a:pt x="130" y="338"/>
                  </a:cubicBezTo>
                  <a:cubicBezTo>
                    <a:pt x="133" y="339"/>
                    <a:pt x="135" y="340"/>
                    <a:pt x="138" y="341"/>
                  </a:cubicBezTo>
                  <a:cubicBezTo>
                    <a:pt x="144" y="344"/>
                    <a:pt x="149" y="346"/>
                    <a:pt x="154" y="349"/>
                  </a:cubicBezTo>
                  <a:cubicBezTo>
                    <a:pt x="159" y="351"/>
                    <a:pt x="163" y="354"/>
                    <a:pt x="166" y="358"/>
                  </a:cubicBezTo>
                  <a:cubicBezTo>
                    <a:pt x="169" y="361"/>
                    <a:pt x="172" y="365"/>
                    <a:pt x="174" y="369"/>
                  </a:cubicBezTo>
                  <a:cubicBezTo>
                    <a:pt x="176" y="373"/>
                    <a:pt x="177" y="378"/>
                    <a:pt x="177" y="384"/>
                  </a:cubicBezTo>
                  <a:cubicBezTo>
                    <a:pt x="177" y="387"/>
                    <a:pt x="176" y="390"/>
                    <a:pt x="176" y="393"/>
                  </a:cubicBezTo>
                  <a:close/>
                  <a:moveTo>
                    <a:pt x="191" y="386"/>
                  </a:moveTo>
                  <a:cubicBezTo>
                    <a:pt x="187" y="378"/>
                    <a:pt x="186" y="369"/>
                    <a:pt x="186" y="359"/>
                  </a:cubicBezTo>
                  <a:cubicBezTo>
                    <a:pt x="186" y="348"/>
                    <a:pt x="187" y="339"/>
                    <a:pt x="191" y="330"/>
                  </a:cubicBezTo>
                  <a:cubicBezTo>
                    <a:pt x="194" y="321"/>
                    <a:pt x="199" y="314"/>
                    <a:pt x="205" y="308"/>
                  </a:cubicBezTo>
                  <a:cubicBezTo>
                    <a:pt x="211" y="301"/>
                    <a:pt x="218" y="296"/>
                    <a:pt x="227" y="293"/>
                  </a:cubicBezTo>
                  <a:cubicBezTo>
                    <a:pt x="235" y="290"/>
                    <a:pt x="245" y="288"/>
                    <a:pt x="255" y="288"/>
                  </a:cubicBezTo>
                  <a:cubicBezTo>
                    <a:pt x="264" y="288"/>
                    <a:pt x="273" y="289"/>
                    <a:pt x="281" y="293"/>
                  </a:cubicBezTo>
                  <a:cubicBezTo>
                    <a:pt x="289" y="296"/>
                    <a:pt x="296" y="300"/>
                    <a:pt x="302" y="307"/>
                  </a:cubicBezTo>
                  <a:cubicBezTo>
                    <a:pt x="308" y="312"/>
                    <a:pt x="313" y="320"/>
                    <a:pt x="316" y="328"/>
                  </a:cubicBezTo>
                  <a:cubicBezTo>
                    <a:pt x="319" y="337"/>
                    <a:pt x="321" y="346"/>
                    <a:pt x="321" y="357"/>
                  </a:cubicBezTo>
                  <a:cubicBezTo>
                    <a:pt x="321" y="365"/>
                    <a:pt x="320" y="372"/>
                    <a:pt x="318" y="378"/>
                  </a:cubicBezTo>
                  <a:cubicBezTo>
                    <a:pt x="316" y="385"/>
                    <a:pt x="314" y="391"/>
                    <a:pt x="310" y="396"/>
                  </a:cubicBezTo>
                  <a:cubicBezTo>
                    <a:pt x="307" y="402"/>
                    <a:pt x="303" y="406"/>
                    <a:pt x="299" y="410"/>
                  </a:cubicBezTo>
                  <a:cubicBezTo>
                    <a:pt x="294" y="414"/>
                    <a:pt x="289" y="418"/>
                    <a:pt x="284" y="420"/>
                  </a:cubicBezTo>
                  <a:lnTo>
                    <a:pt x="329" y="459"/>
                  </a:lnTo>
                  <a:lnTo>
                    <a:pt x="278" y="459"/>
                  </a:lnTo>
                  <a:lnTo>
                    <a:pt x="248" y="427"/>
                  </a:lnTo>
                  <a:cubicBezTo>
                    <a:pt x="239" y="426"/>
                    <a:pt x="231" y="424"/>
                    <a:pt x="224" y="421"/>
                  </a:cubicBezTo>
                  <a:cubicBezTo>
                    <a:pt x="216" y="418"/>
                    <a:pt x="210" y="413"/>
                    <a:pt x="204" y="407"/>
                  </a:cubicBezTo>
                  <a:cubicBezTo>
                    <a:pt x="198" y="402"/>
                    <a:pt x="194" y="395"/>
                    <a:pt x="191" y="386"/>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150" name="Freeform 14">
              <a:extLst>
                <a:ext uri="{FF2B5EF4-FFF2-40B4-BE49-F238E27FC236}">
                  <a16:creationId xmlns:a16="http://schemas.microsoft.com/office/drawing/2014/main" id="{DFC3C78B-E87F-4222-BAEC-898D2955E602}"/>
                </a:ext>
              </a:extLst>
            </p:cNvPr>
            <p:cNvSpPr>
              <a:spLocks noEditPoints="1"/>
            </p:cNvSpPr>
            <p:nvPr/>
          </p:nvSpPr>
          <p:spPr bwMode="auto">
            <a:xfrm>
              <a:off x="4833" y="2047"/>
              <a:ext cx="193" cy="121"/>
            </a:xfrm>
            <a:custGeom>
              <a:avLst/>
              <a:gdLst>
                <a:gd name="T0" fmla="*/ 492 w 492"/>
                <a:gd name="T1" fmla="*/ 249 h 312"/>
                <a:gd name="T2" fmla="*/ 433 w 492"/>
                <a:gd name="T3" fmla="*/ 185 h 312"/>
                <a:gd name="T4" fmla="*/ 436 w 492"/>
                <a:gd name="T5" fmla="*/ 155 h 312"/>
                <a:gd name="T6" fmla="*/ 281 w 492"/>
                <a:gd name="T7" fmla="*/ 0 h 312"/>
                <a:gd name="T8" fmla="*/ 136 w 492"/>
                <a:gd name="T9" fmla="*/ 98 h 312"/>
                <a:gd name="T10" fmla="*/ 109 w 492"/>
                <a:gd name="T11" fmla="*/ 94 h 312"/>
                <a:gd name="T12" fmla="*/ 0 w 492"/>
                <a:gd name="T13" fmla="*/ 203 h 312"/>
                <a:gd name="T14" fmla="*/ 107 w 492"/>
                <a:gd name="T15" fmla="*/ 312 h 312"/>
                <a:gd name="T16" fmla="*/ 433 w 492"/>
                <a:gd name="T17" fmla="*/ 312 h 312"/>
                <a:gd name="T18" fmla="*/ 446 w 492"/>
                <a:gd name="T19" fmla="*/ 312 h 312"/>
                <a:gd name="T20" fmla="*/ 445 w 492"/>
                <a:gd name="T21" fmla="*/ 310 h 312"/>
                <a:gd name="T22" fmla="*/ 492 w 492"/>
                <a:gd name="T23" fmla="*/ 249 h 312"/>
                <a:gd name="T24" fmla="*/ 433 w 492"/>
                <a:gd name="T25" fmla="*/ 295 h 312"/>
                <a:gd name="T26" fmla="*/ 109 w 492"/>
                <a:gd name="T27" fmla="*/ 295 h 312"/>
                <a:gd name="T28" fmla="*/ 17 w 492"/>
                <a:gd name="T29" fmla="*/ 203 h 312"/>
                <a:gd name="T30" fmla="*/ 109 w 492"/>
                <a:gd name="T31" fmla="*/ 112 h 312"/>
                <a:gd name="T32" fmla="*/ 139 w 492"/>
                <a:gd name="T33" fmla="*/ 117 h 312"/>
                <a:gd name="T34" fmla="*/ 147 w 492"/>
                <a:gd name="T35" fmla="*/ 120 h 312"/>
                <a:gd name="T36" fmla="*/ 150 w 492"/>
                <a:gd name="T37" fmla="*/ 111 h 312"/>
                <a:gd name="T38" fmla="*/ 281 w 492"/>
                <a:gd name="T39" fmla="*/ 17 h 312"/>
                <a:gd name="T40" fmla="*/ 419 w 492"/>
                <a:gd name="T41" fmla="*/ 155 h 312"/>
                <a:gd name="T42" fmla="*/ 414 w 492"/>
                <a:gd name="T43" fmla="*/ 192 h 312"/>
                <a:gd name="T44" fmla="*/ 410 w 492"/>
                <a:gd name="T45" fmla="*/ 204 h 312"/>
                <a:gd name="T46" fmla="*/ 423 w 492"/>
                <a:gd name="T47" fmla="*/ 203 h 312"/>
                <a:gd name="T48" fmla="*/ 429 w 492"/>
                <a:gd name="T49" fmla="*/ 202 h 312"/>
                <a:gd name="T50" fmla="*/ 475 w 492"/>
                <a:gd name="T51" fmla="*/ 249 h 312"/>
                <a:gd name="T52" fmla="*/ 433 w 492"/>
                <a:gd name="T53" fmla="*/ 29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2" h="312">
                  <a:moveTo>
                    <a:pt x="492" y="249"/>
                  </a:moveTo>
                  <a:cubicBezTo>
                    <a:pt x="492" y="215"/>
                    <a:pt x="466" y="187"/>
                    <a:pt x="433" y="185"/>
                  </a:cubicBezTo>
                  <a:cubicBezTo>
                    <a:pt x="435" y="175"/>
                    <a:pt x="436" y="165"/>
                    <a:pt x="436" y="155"/>
                  </a:cubicBezTo>
                  <a:cubicBezTo>
                    <a:pt x="436" y="70"/>
                    <a:pt x="366" y="0"/>
                    <a:pt x="281" y="0"/>
                  </a:cubicBezTo>
                  <a:cubicBezTo>
                    <a:pt x="217" y="0"/>
                    <a:pt x="160" y="39"/>
                    <a:pt x="136" y="98"/>
                  </a:cubicBezTo>
                  <a:cubicBezTo>
                    <a:pt x="127" y="96"/>
                    <a:pt x="118" y="94"/>
                    <a:pt x="109" y="94"/>
                  </a:cubicBezTo>
                  <a:cubicBezTo>
                    <a:pt x="49" y="94"/>
                    <a:pt x="0" y="143"/>
                    <a:pt x="0" y="203"/>
                  </a:cubicBezTo>
                  <a:cubicBezTo>
                    <a:pt x="0" y="262"/>
                    <a:pt x="47" y="311"/>
                    <a:pt x="107" y="312"/>
                  </a:cubicBezTo>
                  <a:lnTo>
                    <a:pt x="433" y="312"/>
                  </a:lnTo>
                  <a:lnTo>
                    <a:pt x="446" y="312"/>
                  </a:lnTo>
                  <a:lnTo>
                    <a:pt x="445" y="310"/>
                  </a:lnTo>
                  <a:cubicBezTo>
                    <a:pt x="472" y="303"/>
                    <a:pt x="492" y="278"/>
                    <a:pt x="492" y="249"/>
                  </a:cubicBezTo>
                  <a:close/>
                  <a:moveTo>
                    <a:pt x="433" y="295"/>
                  </a:moveTo>
                  <a:lnTo>
                    <a:pt x="109" y="295"/>
                  </a:lnTo>
                  <a:cubicBezTo>
                    <a:pt x="58" y="295"/>
                    <a:pt x="17" y="254"/>
                    <a:pt x="17" y="203"/>
                  </a:cubicBezTo>
                  <a:cubicBezTo>
                    <a:pt x="17" y="153"/>
                    <a:pt x="58" y="112"/>
                    <a:pt x="109" y="112"/>
                  </a:cubicBezTo>
                  <a:cubicBezTo>
                    <a:pt x="119" y="112"/>
                    <a:pt x="129" y="113"/>
                    <a:pt x="139" y="117"/>
                  </a:cubicBezTo>
                  <a:lnTo>
                    <a:pt x="147" y="120"/>
                  </a:lnTo>
                  <a:lnTo>
                    <a:pt x="150" y="111"/>
                  </a:lnTo>
                  <a:cubicBezTo>
                    <a:pt x="169" y="55"/>
                    <a:pt x="221" y="17"/>
                    <a:pt x="281" y="17"/>
                  </a:cubicBezTo>
                  <a:cubicBezTo>
                    <a:pt x="357" y="17"/>
                    <a:pt x="419" y="79"/>
                    <a:pt x="419" y="155"/>
                  </a:cubicBezTo>
                  <a:cubicBezTo>
                    <a:pt x="419" y="167"/>
                    <a:pt x="417" y="180"/>
                    <a:pt x="414" y="192"/>
                  </a:cubicBezTo>
                  <a:lnTo>
                    <a:pt x="410" y="204"/>
                  </a:lnTo>
                  <a:lnTo>
                    <a:pt x="423" y="203"/>
                  </a:lnTo>
                  <a:cubicBezTo>
                    <a:pt x="425" y="202"/>
                    <a:pt x="427" y="202"/>
                    <a:pt x="429" y="202"/>
                  </a:cubicBezTo>
                  <a:cubicBezTo>
                    <a:pt x="454" y="202"/>
                    <a:pt x="475" y="223"/>
                    <a:pt x="475" y="249"/>
                  </a:cubicBezTo>
                  <a:cubicBezTo>
                    <a:pt x="475" y="272"/>
                    <a:pt x="456" y="293"/>
                    <a:pt x="433" y="295"/>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grpSp>
      <p:sp>
        <p:nvSpPr>
          <p:cNvPr id="151" name="TextBox 150">
            <a:extLst>
              <a:ext uri="{FF2B5EF4-FFF2-40B4-BE49-F238E27FC236}">
                <a16:creationId xmlns:a16="http://schemas.microsoft.com/office/drawing/2014/main" id="{98572E1E-5094-4A29-B147-1325866AEDC7}"/>
              </a:ext>
            </a:extLst>
          </p:cNvPr>
          <p:cNvSpPr txBox="1"/>
          <p:nvPr/>
        </p:nvSpPr>
        <p:spPr>
          <a:xfrm>
            <a:off x="3072742" y="5121022"/>
            <a:ext cx="546170" cy="892717"/>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dirty="0">
                <a:solidFill>
                  <a:srgbClr val="FFFFFF"/>
                </a:solidFill>
                <a:latin typeface="Segoe UI Semilight"/>
              </a:rPr>
              <a:t>SQL</a:t>
            </a:r>
          </a:p>
        </p:txBody>
      </p:sp>
      <p:sp>
        <p:nvSpPr>
          <p:cNvPr id="152" name="Rectangle: Rounded Corners 151">
            <a:extLst>
              <a:ext uri="{FF2B5EF4-FFF2-40B4-BE49-F238E27FC236}">
                <a16:creationId xmlns:a16="http://schemas.microsoft.com/office/drawing/2014/main" id="{3784CDDD-C441-43D3-98BA-9CC59A14A31C}"/>
              </a:ext>
            </a:extLst>
          </p:cNvPr>
          <p:cNvSpPr/>
          <p:nvPr/>
        </p:nvSpPr>
        <p:spPr bwMode="auto">
          <a:xfrm>
            <a:off x="5618983" y="2518475"/>
            <a:ext cx="1888989" cy="4231611"/>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0" numCol="1" spcCol="0" rtlCol="0" fromWordArt="0" anchor="b"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r>
              <a:rPr lang="en-US" sz="1224" b="1" dirty="0">
                <a:solidFill>
                  <a:srgbClr val="FFFFFF"/>
                </a:solidFill>
                <a:latin typeface="Segoe UI Semilight"/>
                <a:ea typeface="Segoe UI" pitchFamily="34" charset="0"/>
                <a:cs typeface="Segoe UI" pitchFamily="34" charset="0"/>
              </a:rPr>
              <a:t>Availability Zone 3</a:t>
            </a:r>
          </a:p>
        </p:txBody>
      </p:sp>
      <p:sp>
        <p:nvSpPr>
          <p:cNvPr id="158" name="Freeform 14">
            <a:extLst>
              <a:ext uri="{FF2B5EF4-FFF2-40B4-BE49-F238E27FC236}">
                <a16:creationId xmlns:a16="http://schemas.microsoft.com/office/drawing/2014/main" id="{7A8F6488-6C60-4F9E-BC6A-DABED34ABAE7}"/>
              </a:ext>
            </a:extLst>
          </p:cNvPr>
          <p:cNvSpPr>
            <a:spLocks noEditPoints="1"/>
          </p:cNvSpPr>
          <p:nvPr/>
        </p:nvSpPr>
        <p:spPr bwMode="auto">
          <a:xfrm>
            <a:off x="5983226" y="2635341"/>
            <a:ext cx="760881" cy="505095"/>
          </a:xfrm>
          <a:custGeom>
            <a:avLst/>
            <a:gdLst>
              <a:gd name="T0" fmla="*/ 832 w 833"/>
              <a:gd name="T1" fmla="*/ 496 h 552"/>
              <a:gd name="T2" fmla="*/ 757 w 833"/>
              <a:gd name="T3" fmla="*/ 22 h 552"/>
              <a:gd name="T4" fmla="*/ 734 w 833"/>
              <a:gd name="T5" fmla="*/ 0 h 552"/>
              <a:gd name="T6" fmla="*/ 108 w 833"/>
              <a:gd name="T7" fmla="*/ 0 h 552"/>
              <a:gd name="T8" fmla="*/ 85 w 833"/>
              <a:gd name="T9" fmla="*/ 22 h 552"/>
              <a:gd name="T10" fmla="*/ 1 w 833"/>
              <a:gd name="T11" fmla="*/ 497 h 552"/>
              <a:gd name="T12" fmla="*/ 1 w 833"/>
              <a:gd name="T13" fmla="*/ 496 h 552"/>
              <a:gd name="T14" fmla="*/ 1 w 833"/>
              <a:gd name="T15" fmla="*/ 498 h 552"/>
              <a:gd name="T16" fmla="*/ 0 w 833"/>
              <a:gd name="T17" fmla="*/ 500 h 552"/>
              <a:gd name="T18" fmla="*/ 1 w 833"/>
              <a:gd name="T19" fmla="*/ 501 h 552"/>
              <a:gd name="T20" fmla="*/ 0 w 833"/>
              <a:gd name="T21" fmla="*/ 509 h 552"/>
              <a:gd name="T22" fmla="*/ 36 w 833"/>
              <a:gd name="T23" fmla="*/ 552 h 552"/>
              <a:gd name="T24" fmla="*/ 36 w 833"/>
              <a:gd name="T25" fmla="*/ 552 h 552"/>
              <a:gd name="T26" fmla="*/ 797 w 833"/>
              <a:gd name="T27" fmla="*/ 552 h 552"/>
              <a:gd name="T28" fmla="*/ 832 w 833"/>
              <a:gd name="T29" fmla="*/ 509 h 552"/>
              <a:gd name="T30" fmla="*/ 832 w 833"/>
              <a:gd name="T31" fmla="*/ 496 h 552"/>
              <a:gd name="T32" fmla="*/ 570 w 833"/>
              <a:gd name="T33" fmla="*/ 376 h 552"/>
              <a:gd name="T34" fmla="*/ 478 w 833"/>
              <a:gd name="T35" fmla="*/ 376 h 552"/>
              <a:gd name="T36" fmla="*/ 465 w 833"/>
              <a:gd name="T37" fmla="*/ 362 h 552"/>
              <a:gd name="T38" fmla="*/ 478 w 833"/>
              <a:gd name="T39" fmla="*/ 349 h 552"/>
              <a:gd name="T40" fmla="*/ 522 w 833"/>
              <a:gd name="T41" fmla="*/ 349 h 552"/>
              <a:gd name="T42" fmla="*/ 418 w 833"/>
              <a:gd name="T43" fmla="*/ 245 h 552"/>
              <a:gd name="T44" fmla="*/ 418 w 833"/>
              <a:gd name="T45" fmla="*/ 453 h 552"/>
              <a:gd name="T46" fmla="*/ 450 w 833"/>
              <a:gd name="T47" fmla="*/ 420 h 552"/>
              <a:gd name="T48" fmla="*/ 469 w 833"/>
              <a:gd name="T49" fmla="*/ 420 h 552"/>
              <a:gd name="T50" fmla="*/ 469 w 833"/>
              <a:gd name="T51" fmla="*/ 439 h 552"/>
              <a:gd name="T52" fmla="*/ 404 w 833"/>
              <a:gd name="T53" fmla="*/ 504 h 552"/>
              <a:gd name="T54" fmla="*/ 339 w 833"/>
              <a:gd name="T55" fmla="*/ 439 h 552"/>
              <a:gd name="T56" fmla="*/ 335 w 833"/>
              <a:gd name="T57" fmla="*/ 430 h 552"/>
              <a:gd name="T58" fmla="*/ 339 w 833"/>
              <a:gd name="T59" fmla="*/ 420 h 552"/>
              <a:gd name="T60" fmla="*/ 358 w 833"/>
              <a:gd name="T61" fmla="*/ 420 h 552"/>
              <a:gd name="T62" fmla="*/ 391 w 833"/>
              <a:gd name="T63" fmla="*/ 454 h 552"/>
              <a:gd name="T64" fmla="*/ 391 w 833"/>
              <a:gd name="T65" fmla="*/ 245 h 552"/>
              <a:gd name="T66" fmla="*/ 287 w 833"/>
              <a:gd name="T67" fmla="*/ 349 h 552"/>
              <a:gd name="T68" fmla="*/ 334 w 833"/>
              <a:gd name="T69" fmla="*/ 349 h 552"/>
              <a:gd name="T70" fmla="*/ 347 w 833"/>
              <a:gd name="T71" fmla="*/ 362 h 552"/>
              <a:gd name="T72" fmla="*/ 334 w 833"/>
              <a:gd name="T73" fmla="*/ 376 h 552"/>
              <a:gd name="T74" fmla="*/ 242 w 833"/>
              <a:gd name="T75" fmla="*/ 376 h 552"/>
              <a:gd name="T76" fmla="*/ 242 w 833"/>
              <a:gd name="T77" fmla="*/ 284 h 552"/>
              <a:gd name="T78" fmla="*/ 255 w 833"/>
              <a:gd name="T79" fmla="*/ 270 h 552"/>
              <a:gd name="T80" fmla="*/ 269 w 833"/>
              <a:gd name="T81" fmla="*/ 284 h 552"/>
              <a:gd name="T82" fmla="*/ 269 w 833"/>
              <a:gd name="T83" fmla="*/ 330 h 552"/>
              <a:gd name="T84" fmla="*/ 391 w 833"/>
              <a:gd name="T85" fmla="*/ 207 h 552"/>
              <a:gd name="T86" fmla="*/ 391 w 833"/>
              <a:gd name="T87" fmla="*/ 143 h 552"/>
              <a:gd name="T88" fmla="*/ 362 w 833"/>
              <a:gd name="T89" fmla="*/ 103 h 552"/>
              <a:gd name="T90" fmla="*/ 405 w 833"/>
              <a:gd name="T91" fmla="*/ 61 h 552"/>
              <a:gd name="T92" fmla="*/ 447 w 833"/>
              <a:gd name="T93" fmla="*/ 103 h 552"/>
              <a:gd name="T94" fmla="*/ 418 w 833"/>
              <a:gd name="T95" fmla="*/ 143 h 552"/>
              <a:gd name="T96" fmla="*/ 418 w 833"/>
              <a:gd name="T97" fmla="*/ 207 h 552"/>
              <a:gd name="T98" fmla="*/ 544 w 833"/>
              <a:gd name="T99" fmla="*/ 333 h 552"/>
              <a:gd name="T100" fmla="*/ 544 w 833"/>
              <a:gd name="T101" fmla="*/ 283 h 552"/>
              <a:gd name="T102" fmla="*/ 557 w 833"/>
              <a:gd name="T103" fmla="*/ 270 h 552"/>
              <a:gd name="T104" fmla="*/ 570 w 833"/>
              <a:gd name="T105" fmla="*/ 283 h 552"/>
              <a:gd name="T106" fmla="*/ 570 w 833"/>
              <a:gd name="T107" fmla="*/ 376 h 552"/>
              <a:gd name="T108" fmla="*/ 570 w 833"/>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3" h="552">
                <a:moveTo>
                  <a:pt x="832" y="496"/>
                </a:moveTo>
                <a:lnTo>
                  <a:pt x="757" y="22"/>
                </a:lnTo>
                <a:cubicBezTo>
                  <a:pt x="755" y="2"/>
                  <a:pt x="739" y="0"/>
                  <a:pt x="734" y="0"/>
                </a:cubicBezTo>
                <a:lnTo>
                  <a:pt x="108" y="0"/>
                </a:lnTo>
                <a:cubicBezTo>
                  <a:pt x="103" y="0"/>
                  <a:pt x="86" y="2"/>
                  <a:pt x="85" y="22"/>
                </a:cubicBezTo>
                <a:lnTo>
                  <a:pt x="1" y="497"/>
                </a:lnTo>
                <a:lnTo>
                  <a:pt x="1" y="496"/>
                </a:lnTo>
                <a:cubicBezTo>
                  <a:pt x="1" y="497"/>
                  <a:pt x="1" y="497"/>
                  <a:pt x="1" y="498"/>
                </a:cubicBezTo>
                <a:lnTo>
                  <a:pt x="0" y="500"/>
                </a:lnTo>
                <a:lnTo>
                  <a:pt x="1" y="501"/>
                </a:lnTo>
                <a:cubicBezTo>
                  <a:pt x="1" y="503"/>
                  <a:pt x="0" y="506"/>
                  <a:pt x="0" y="509"/>
                </a:cubicBezTo>
                <a:cubicBezTo>
                  <a:pt x="0" y="544"/>
                  <a:pt x="29" y="552"/>
                  <a:pt x="36" y="552"/>
                </a:cubicBezTo>
                <a:lnTo>
                  <a:pt x="36" y="552"/>
                </a:lnTo>
                <a:lnTo>
                  <a:pt x="797" y="552"/>
                </a:lnTo>
                <a:cubicBezTo>
                  <a:pt x="803" y="552"/>
                  <a:pt x="832" y="545"/>
                  <a:pt x="832" y="509"/>
                </a:cubicBezTo>
                <a:cubicBezTo>
                  <a:pt x="833" y="505"/>
                  <a:pt x="832" y="500"/>
                  <a:pt x="832" y="496"/>
                </a:cubicBezTo>
                <a:close/>
                <a:moveTo>
                  <a:pt x="570" y="376"/>
                </a:moveTo>
                <a:lnTo>
                  <a:pt x="478" y="376"/>
                </a:lnTo>
                <a:cubicBezTo>
                  <a:pt x="471" y="376"/>
                  <a:pt x="465" y="370"/>
                  <a:pt x="465" y="362"/>
                </a:cubicBezTo>
                <a:cubicBezTo>
                  <a:pt x="465" y="355"/>
                  <a:pt x="471" y="349"/>
                  <a:pt x="478" y="349"/>
                </a:cubicBezTo>
                <a:lnTo>
                  <a:pt x="522" y="349"/>
                </a:lnTo>
                <a:lnTo>
                  <a:pt x="418" y="245"/>
                </a:lnTo>
                <a:lnTo>
                  <a:pt x="418" y="453"/>
                </a:lnTo>
                <a:lnTo>
                  <a:pt x="450" y="420"/>
                </a:lnTo>
                <a:cubicBezTo>
                  <a:pt x="456" y="415"/>
                  <a:pt x="464" y="415"/>
                  <a:pt x="469" y="420"/>
                </a:cubicBezTo>
                <a:cubicBezTo>
                  <a:pt x="474" y="425"/>
                  <a:pt x="474" y="434"/>
                  <a:pt x="469" y="439"/>
                </a:cubicBezTo>
                <a:lnTo>
                  <a:pt x="404" y="504"/>
                </a:lnTo>
                <a:lnTo>
                  <a:pt x="339" y="439"/>
                </a:lnTo>
                <a:cubicBezTo>
                  <a:pt x="336" y="436"/>
                  <a:pt x="335" y="433"/>
                  <a:pt x="335" y="430"/>
                </a:cubicBezTo>
                <a:cubicBezTo>
                  <a:pt x="335" y="426"/>
                  <a:pt x="336" y="423"/>
                  <a:pt x="339" y="420"/>
                </a:cubicBezTo>
                <a:cubicBezTo>
                  <a:pt x="344" y="415"/>
                  <a:pt x="353" y="415"/>
                  <a:pt x="358" y="420"/>
                </a:cubicBezTo>
                <a:lnTo>
                  <a:pt x="391" y="454"/>
                </a:lnTo>
                <a:lnTo>
                  <a:pt x="391" y="245"/>
                </a:lnTo>
                <a:lnTo>
                  <a:pt x="287" y="349"/>
                </a:lnTo>
                <a:lnTo>
                  <a:pt x="334" y="349"/>
                </a:lnTo>
                <a:cubicBezTo>
                  <a:pt x="341" y="349"/>
                  <a:pt x="347" y="355"/>
                  <a:pt x="347" y="362"/>
                </a:cubicBezTo>
                <a:cubicBezTo>
                  <a:pt x="347" y="370"/>
                  <a:pt x="341" y="376"/>
                  <a:pt x="334" y="376"/>
                </a:cubicBezTo>
                <a:lnTo>
                  <a:pt x="242" y="376"/>
                </a:lnTo>
                <a:lnTo>
                  <a:pt x="242" y="284"/>
                </a:lnTo>
                <a:cubicBezTo>
                  <a:pt x="242" y="276"/>
                  <a:pt x="248" y="270"/>
                  <a:pt x="255" y="270"/>
                </a:cubicBezTo>
                <a:cubicBezTo>
                  <a:pt x="263" y="270"/>
                  <a:pt x="269" y="276"/>
                  <a:pt x="269" y="284"/>
                </a:cubicBezTo>
                <a:lnTo>
                  <a:pt x="269" y="330"/>
                </a:lnTo>
                <a:lnTo>
                  <a:pt x="391" y="207"/>
                </a:lnTo>
                <a:lnTo>
                  <a:pt x="391" y="143"/>
                </a:lnTo>
                <a:cubicBezTo>
                  <a:pt x="375" y="137"/>
                  <a:pt x="362" y="121"/>
                  <a:pt x="362" y="103"/>
                </a:cubicBezTo>
                <a:cubicBezTo>
                  <a:pt x="362" y="79"/>
                  <a:pt x="381" y="61"/>
                  <a:pt x="405" y="61"/>
                </a:cubicBezTo>
                <a:cubicBezTo>
                  <a:pt x="428" y="61"/>
                  <a:pt x="447" y="79"/>
                  <a:pt x="447" y="103"/>
                </a:cubicBezTo>
                <a:cubicBezTo>
                  <a:pt x="447" y="121"/>
                  <a:pt x="435" y="137"/>
                  <a:pt x="418" y="143"/>
                </a:cubicBezTo>
                <a:lnTo>
                  <a:pt x="418" y="207"/>
                </a:lnTo>
                <a:lnTo>
                  <a:pt x="544" y="333"/>
                </a:lnTo>
                <a:lnTo>
                  <a:pt x="544" y="283"/>
                </a:lnTo>
                <a:cubicBezTo>
                  <a:pt x="544" y="276"/>
                  <a:pt x="550" y="270"/>
                  <a:pt x="557" y="270"/>
                </a:cubicBezTo>
                <a:cubicBezTo>
                  <a:pt x="564" y="270"/>
                  <a:pt x="570" y="276"/>
                  <a:pt x="570" y="283"/>
                </a:cubicBezTo>
                <a:lnTo>
                  <a:pt x="570" y="376"/>
                </a:lnTo>
                <a:lnTo>
                  <a:pt x="570" y="376"/>
                </a:lnTo>
                <a:close/>
              </a:path>
            </a:pathLst>
          </a:custGeom>
          <a:noFill/>
          <a:ln w="1270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nvGrpSpPr>
          <p:cNvPr id="159" name="Group 4">
            <a:extLst>
              <a:ext uri="{FF2B5EF4-FFF2-40B4-BE49-F238E27FC236}">
                <a16:creationId xmlns:a16="http://schemas.microsoft.com/office/drawing/2014/main" id="{968CFF14-5DA1-4D50-8AB8-68C0B2BEA95B}"/>
              </a:ext>
            </a:extLst>
          </p:cNvPr>
          <p:cNvGrpSpPr>
            <a:grpSpLocks noChangeAspect="1"/>
          </p:cNvGrpSpPr>
          <p:nvPr/>
        </p:nvGrpSpPr>
        <p:grpSpPr bwMode="auto">
          <a:xfrm>
            <a:off x="5870132" y="5121023"/>
            <a:ext cx="972553" cy="892716"/>
            <a:chOff x="2299" y="1462"/>
            <a:chExt cx="268" cy="246"/>
          </a:xfrm>
          <a:solidFill>
            <a:schemeClr val="bg1"/>
          </a:solidFill>
        </p:grpSpPr>
        <p:sp>
          <p:nvSpPr>
            <p:cNvPr id="160" name="Freeform 5">
              <a:extLst>
                <a:ext uri="{FF2B5EF4-FFF2-40B4-BE49-F238E27FC236}">
                  <a16:creationId xmlns:a16="http://schemas.microsoft.com/office/drawing/2014/main" id="{9F7CAD79-48CB-4610-8FB2-1AF2C7B14D84}"/>
                </a:ext>
              </a:extLst>
            </p:cNvPr>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61" name="Freeform 6">
              <a:extLst>
                <a:ext uri="{FF2B5EF4-FFF2-40B4-BE49-F238E27FC236}">
                  <a16:creationId xmlns:a16="http://schemas.microsoft.com/office/drawing/2014/main" id="{F6C9BF0A-C5F6-4FBE-89A7-4826E3D5FE17}"/>
                </a:ext>
              </a:extLst>
            </p:cNvPr>
            <p:cNvSpPr>
              <a:spLocks/>
            </p:cNvSpPr>
            <p:nvPr/>
          </p:nvSpPr>
          <p:spPr bwMode="auto">
            <a:xfrm>
              <a:off x="2389" y="1507"/>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62" name="Freeform 7">
              <a:extLst>
                <a:ext uri="{FF2B5EF4-FFF2-40B4-BE49-F238E27FC236}">
                  <a16:creationId xmlns:a16="http://schemas.microsoft.com/office/drawing/2014/main" id="{89989FC4-03FB-4F2C-80DE-7CAB32A1F59D}"/>
                </a:ext>
              </a:extLst>
            </p:cNvPr>
            <p:cNvSpPr>
              <a:spLocks/>
            </p:cNvSpPr>
            <p:nvPr/>
          </p:nvSpPr>
          <p:spPr bwMode="auto">
            <a:xfrm>
              <a:off x="2435" y="1539"/>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63" name="Freeform 8">
              <a:extLst>
                <a:ext uri="{FF2B5EF4-FFF2-40B4-BE49-F238E27FC236}">
                  <a16:creationId xmlns:a16="http://schemas.microsoft.com/office/drawing/2014/main" id="{0CCD43EF-C823-4B19-B844-AEF158C50E19}"/>
                </a:ext>
              </a:extLst>
            </p:cNvPr>
            <p:cNvSpPr>
              <a:spLocks/>
            </p:cNvSpPr>
            <p:nvPr/>
          </p:nvSpPr>
          <p:spPr bwMode="auto">
            <a:xfrm>
              <a:off x="2385" y="1539"/>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grpSp>
        <p:nvGrpSpPr>
          <p:cNvPr id="165" name="Group 11">
            <a:extLst>
              <a:ext uri="{FF2B5EF4-FFF2-40B4-BE49-F238E27FC236}">
                <a16:creationId xmlns:a16="http://schemas.microsoft.com/office/drawing/2014/main" id="{DB6FC812-564B-451A-B25F-2BCCE7502466}"/>
              </a:ext>
            </a:extLst>
          </p:cNvPr>
          <p:cNvGrpSpPr>
            <a:grpSpLocks noChangeAspect="1"/>
          </p:cNvGrpSpPr>
          <p:nvPr/>
        </p:nvGrpSpPr>
        <p:grpSpPr bwMode="auto">
          <a:xfrm>
            <a:off x="7015481" y="5576941"/>
            <a:ext cx="458148" cy="475955"/>
            <a:chOff x="4743" y="1874"/>
            <a:chExt cx="283" cy="294"/>
          </a:xfrm>
          <a:solidFill>
            <a:schemeClr val="bg1"/>
          </a:solidFill>
        </p:grpSpPr>
        <p:sp>
          <p:nvSpPr>
            <p:cNvPr id="166" name="Freeform 12">
              <a:extLst>
                <a:ext uri="{FF2B5EF4-FFF2-40B4-BE49-F238E27FC236}">
                  <a16:creationId xmlns:a16="http://schemas.microsoft.com/office/drawing/2014/main" id="{F89DF936-AC09-4F29-A4C3-79E6F88C48DB}"/>
                </a:ext>
              </a:extLst>
            </p:cNvPr>
            <p:cNvSpPr>
              <a:spLocks/>
            </p:cNvSpPr>
            <p:nvPr/>
          </p:nvSpPr>
          <p:spPr bwMode="auto">
            <a:xfrm>
              <a:off x="4833" y="2000"/>
              <a:ext cx="19" cy="27"/>
            </a:xfrm>
            <a:custGeom>
              <a:avLst/>
              <a:gdLst>
                <a:gd name="T0" fmla="*/ 7 w 49"/>
                <a:gd name="T1" fmla="*/ 62 h 70"/>
                <a:gd name="T2" fmla="*/ 15 w 49"/>
                <a:gd name="T3" fmla="*/ 68 h 70"/>
                <a:gd name="T4" fmla="*/ 25 w 49"/>
                <a:gd name="T5" fmla="*/ 70 h 70"/>
                <a:gd name="T6" fmla="*/ 34 w 49"/>
                <a:gd name="T7" fmla="*/ 68 h 70"/>
                <a:gd name="T8" fmla="*/ 42 w 49"/>
                <a:gd name="T9" fmla="*/ 62 h 70"/>
                <a:gd name="T10" fmla="*/ 47 w 49"/>
                <a:gd name="T11" fmla="*/ 51 h 70"/>
                <a:gd name="T12" fmla="*/ 49 w 49"/>
                <a:gd name="T13" fmla="*/ 36 h 70"/>
                <a:gd name="T14" fmla="*/ 48 w 49"/>
                <a:gd name="T15" fmla="*/ 22 h 70"/>
                <a:gd name="T16" fmla="*/ 43 w 49"/>
                <a:gd name="T17" fmla="*/ 11 h 70"/>
                <a:gd name="T18" fmla="*/ 36 w 49"/>
                <a:gd name="T19" fmla="*/ 3 h 70"/>
                <a:gd name="T20" fmla="*/ 25 w 49"/>
                <a:gd name="T21" fmla="*/ 0 h 70"/>
                <a:gd name="T22" fmla="*/ 14 w 49"/>
                <a:gd name="T23" fmla="*/ 3 h 70"/>
                <a:gd name="T24" fmla="*/ 6 w 49"/>
                <a:gd name="T25" fmla="*/ 11 h 70"/>
                <a:gd name="T26" fmla="*/ 1 w 49"/>
                <a:gd name="T27" fmla="*/ 22 h 70"/>
                <a:gd name="T28" fmla="*/ 0 w 49"/>
                <a:gd name="T29" fmla="*/ 35 h 70"/>
                <a:gd name="T30" fmla="*/ 2 w 49"/>
                <a:gd name="T31" fmla="*/ 51 h 70"/>
                <a:gd name="T32" fmla="*/ 7 w 49"/>
                <a:gd name="T33"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70">
                  <a:moveTo>
                    <a:pt x="7" y="62"/>
                  </a:moveTo>
                  <a:cubicBezTo>
                    <a:pt x="9" y="65"/>
                    <a:pt x="12" y="67"/>
                    <a:pt x="15" y="68"/>
                  </a:cubicBezTo>
                  <a:cubicBezTo>
                    <a:pt x="18" y="70"/>
                    <a:pt x="21" y="70"/>
                    <a:pt x="25" y="70"/>
                  </a:cubicBezTo>
                  <a:cubicBezTo>
                    <a:pt x="28" y="70"/>
                    <a:pt x="31" y="70"/>
                    <a:pt x="34" y="68"/>
                  </a:cubicBezTo>
                  <a:cubicBezTo>
                    <a:pt x="37" y="67"/>
                    <a:pt x="39" y="65"/>
                    <a:pt x="42" y="62"/>
                  </a:cubicBezTo>
                  <a:cubicBezTo>
                    <a:pt x="44" y="59"/>
                    <a:pt x="46" y="56"/>
                    <a:pt x="47" y="51"/>
                  </a:cubicBezTo>
                  <a:cubicBezTo>
                    <a:pt x="48" y="47"/>
                    <a:pt x="49" y="42"/>
                    <a:pt x="49" y="36"/>
                  </a:cubicBezTo>
                  <a:cubicBezTo>
                    <a:pt x="49" y="31"/>
                    <a:pt x="49" y="27"/>
                    <a:pt x="48" y="22"/>
                  </a:cubicBezTo>
                  <a:cubicBezTo>
                    <a:pt x="47" y="18"/>
                    <a:pt x="45" y="14"/>
                    <a:pt x="43" y="11"/>
                  </a:cubicBezTo>
                  <a:cubicBezTo>
                    <a:pt x="42" y="8"/>
                    <a:pt x="39" y="5"/>
                    <a:pt x="36" y="3"/>
                  </a:cubicBezTo>
                  <a:cubicBezTo>
                    <a:pt x="33" y="1"/>
                    <a:pt x="29" y="0"/>
                    <a:pt x="25" y="0"/>
                  </a:cubicBezTo>
                  <a:cubicBezTo>
                    <a:pt x="21" y="0"/>
                    <a:pt x="17" y="1"/>
                    <a:pt x="14" y="3"/>
                  </a:cubicBezTo>
                  <a:cubicBezTo>
                    <a:pt x="10" y="5"/>
                    <a:pt x="8" y="7"/>
                    <a:pt x="6" y="11"/>
                  </a:cubicBezTo>
                  <a:cubicBezTo>
                    <a:pt x="4" y="14"/>
                    <a:pt x="2" y="18"/>
                    <a:pt x="1" y="22"/>
                  </a:cubicBezTo>
                  <a:cubicBezTo>
                    <a:pt x="0" y="26"/>
                    <a:pt x="0" y="31"/>
                    <a:pt x="0" y="35"/>
                  </a:cubicBezTo>
                  <a:cubicBezTo>
                    <a:pt x="0" y="42"/>
                    <a:pt x="0" y="47"/>
                    <a:pt x="2" y="51"/>
                  </a:cubicBezTo>
                  <a:cubicBezTo>
                    <a:pt x="3" y="56"/>
                    <a:pt x="5" y="59"/>
                    <a:pt x="7" y="62"/>
                  </a:cubicBezTo>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167" name="Freeform 13">
              <a:extLst>
                <a:ext uri="{FF2B5EF4-FFF2-40B4-BE49-F238E27FC236}">
                  <a16:creationId xmlns:a16="http://schemas.microsoft.com/office/drawing/2014/main" id="{309FACED-A40F-457D-9E5F-8CADDD938A2F}"/>
                </a:ext>
              </a:extLst>
            </p:cNvPr>
            <p:cNvSpPr>
              <a:spLocks noEditPoints="1"/>
            </p:cNvSpPr>
            <p:nvPr/>
          </p:nvSpPr>
          <p:spPr bwMode="auto">
            <a:xfrm>
              <a:off x="4743" y="1874"/>
              <a:ext cx="197" cy="260"/>
            </a:xfrm>
            <a:custGeom>
              <a:avLst/>
              <a:gdLst>
                <a:gd name="T0" fmla="*/ 354 w 502"/>
                <a:gd name="T1" fmla="*/ 522 h 667"/>
                <a:gd name="T2" fmla="*/ 502 w 502"/>
                <a:gd name="T3" fmla="*/ 102 h 667"/>
                <a:gd name="T4" fmla="*/ 0 w 502"/>
                <a:gd name="T5" fmla="*/ 100 h 667"/>
                <a:gd name="T6" fmla="*/ 212 w 502"/>
                <a:gd name="T7" fmla="*/ 667 h 667"/>
                <a:gd name="T8" fmla="*/ 337 w 502"/>
                <a:gd name="T9" fmla="*/ 521 h 667"/>
                <a:gd name="T10" fmla="*/ 340 w 502"/>
                <a:gd name="T11" fmla="*/ 424 h 667"/>
                <a:gd name="T12" fmla="*/ 381 w 502"/>
                <a:gd name="T13" fmla="*/ 290 h 667"/>
                <a:gd name="T14" fmla="*/ 427 w 502"/>
                <a:gd name="T15" fmla="*/ 393 h 667"/>
                <a:gd name="T16" fmla="*/ 427 w 502"/>
                <a:gd name="T17" fmla="*/ 424 h 667"/>
                <a:gd name="T18" fmla="*/ 429 w 502"/>
                <a:gd name="T19" fmla="*/ 91 h 667"/>
                <a:gd name="T20" fmla="*/ 72 w 502"/>
                <a:gd name="T21" fmla="*/ 91 h 667"/>
                <a:gd name="T22" fmla="*/ 176 w 502"/>
                <a:gd name="T23" fmla="*/ 393 h 667"/>
                <a:gd name="T24" fmla="*/ 165 w 502"/>
                <a:gd name="T25" fmla="*/ 412 h 667"/>
                <a:gd name="T26" fmla="*/ 139 w 502"/>
                <a:gd name="T27" fmla="*/ 425 h 667"/>
                <a:gd name="T28" fmla="*/ 106 w 502"/>
                <a:gd name="T29" fmla="*/ 426 h 667"/>
                <a:gd name="T30" fmla="*/ 87 w 502"/>
                <a:gd name="T31" fmla="*/ 422 h 667"/>
                <a:gd name="T32" fmla="*/ 80 w 502"/>
                <a:gd name="T33" fmla="*/ 383 h 667"/>
                <a:gd name="T34" fmla="*/ 97 w 502"/>
                <a:gd name="T35" fmla="*/ 392 h 667"/>
                <a:gd name="T36" fmla="*/ 117 w 502"/>
                <a:gd name="T37" fmla="*/ 397 h 667"/>
                <a:gd name="T38" fmla="*/ 129 w 502"/>
                <a:gd name="T39" fmla="*/ 393 h 667"/>
                <a:gd name="T40" fmla="*/ 131 w 502"/>
                <a:gd name="T41" fmla="*/ 387 h 667"/>
                <a:gd name="T42" fmla="*/ 126 w 502"/>
                <a:gd name="T43" fmla="*/ 378 h 667"/>
                <a:gd name="T44" fmla="*/ 110 w 502"/>
                <a:gd name="T45" fmla="*/ 371 h 667"/>
                <a:gd name="T46" fmla="*/ 85 w 502"/>
                <a:gd name="T47" fmla="*/ 354 h 667"/>
                <a:gd name="T48" fmla="*/ 78 w 502"/>
                <a:gd name="T49" fmla="*/ 331 h 667"/>
                <a:gd name="T50" fmla="*/ 93 w 502"/>
                <a:gd name="T51" fmla="*/ 299 h 667"/>
                <a:gd name="T52" fmla="*/ 132 w 502"/>
                <a:gd name="T53" fmla="*/ 288 h 667"/>
                <a:gd name="T54" fmla="*/ 155 w 502"/>
                <a:gd name="T55" fmla="*/ 290 h 667"/>
                <a:gd name="T56" fmla="*/ 170 w 502"/>
                <a:gd name="T57" fmla="*/ 293 h 667"/>
                <a:gd name="T58" fmla="*/ 163 w 502"/>
                <a:gd name="T59" fmla="*/ 324 h 667"/>
                <a:gd name="T60" fmla="*/ 146 w 502"/>
                <a:gd name="T61" fmla="*/ 319 h 667"/>
                <a:gd name="T62" fmla="*/ 125 w 502"/>
                <a:gd name="T63" fmla="*/ 320 h 667"/>
                <a:gd name="T64" fmla="*/ 122 w 502"/>
                <a:gd name="T65" fmla="*/ 331 h 667"/>
                <a:gd name="T66" fmla="*/ 130 w 502"/>
                <a:gd name="T67" fmla="*/ 338 h 667"/>
                <a:gd name="T68" fmla="*/ 154 w 502"/>
                <a:gd name="T69" fmla="*/ 349 h 667"/>
                <a:gd name="T70" fmla="*/ 174 w 502"/>
                <a:gd name="T71" fmla="*/ 369 h 667"/>
                <a:gd name="T72" fmla="*/ 176 w 502"/>
                <a:gd name="T73" fmla="*/ 393 h 667"/>
                <a:gd name="T74" fmla="*/ 186 w 502"/>
                <a:gd name="T75" fmla="*/ 359 h 667"/>
                <a:gd name="T76" fmla="*/ 205 w 502"/>
                <a:gd name="T77" fmla="*/ 308 h 667"/>
                <a:gd name="T78" fmla="*/ 255 w 502"/>
                <a:gd name="T79" fmla="*/ 288 h 667"/>
                <a:gd name="T80" fmla="*/ 302 w 502"/>
                <a:gd name="T81" fmla="*/ 307 h 667"/>
                <a:gd name="T82" fmla="*/ 321 w 502"/>
                <a:gd name="T83" fmla="*/ 357 h 667"/>
                <a:gd name="T84" fmla="*/ 310 w 502"/>
                <a:gd name="T85" fmla="*/ 396 h 667"/>
                <a:gd name="T86" fmla="*/ 284 w 502"/>
                <a:gd name="T87" fmla="*/ 420 h 667"/>
                <a:gd name="T88" fmla="*/ 278 w 502"/>
                <a:gd name="T89" fmla="*/ 459 h 667"/>
                <a:gd name="T90" fmla="*/ 224 w 502"/>
                <a:gd name="T91" fmla="*/ 421 h 667"/>
                <a:gd name="T92" fmla="*/ 191 w 502"/>
                <a:gd name="T93" fmla="*/ 38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2" h="667">
                  <a:moveTo>
                    <a:pt x="337" y="521"/>
                  </a:moveTo>
                  <a:cubicBezTo>
                    <a:pt x="343" y="521"/>
                    <a:pt x="348" y="521"/>
                    <a:pt x="354" y="522"/>
                  </a:cubicBezTo>
                  <a:cubicBezTo>
                    <a:pt x="382" y="466"/>
                    <a:pt x="438" y="430"/>
                    <a:pt x="502" y="427"/>
                  </a:cubicBezTo>
                  <a:lnTo>
                    <a:pt x="502" y="102"/>
                  </a:lnTo>
                  <a:cubicBezTo>
                    <a:pt x="502" y="50"/>
                    <a:pt x="389" y="0"/>
                    <a:pt x="251" y="0"/>
                  </a:cubicBezTo>
                  <a:cubicBezTo>
                    <a:pt x="113" y="0"/>
                    <a:pt x="0" y="48"/>
                    <a:pt x="0" y="100"/>
                  </a:cubicBezTo>
                  <a:lnTo>
                    <a:pt x="0" y="568"/>
                  </a:lnTo>
                  <a:cubicBezTo>
                    <a:pt x="0" y="615"/>
                    <a:pt x="92" y="659"/>
                    <a:pt x="212" y="667"/>
                  </a:cubicBezTo>
                  <a:cubicBezTo>
                    <a:pt x="211" y="661"/>
                    <a:pt x="211" y="654"/>
                    <a:pt x="211" y="647"/>
                  </a:cubicBezTo>
                  <a:cubicBezTo>
                    <a:pt x="211" y="578"/>
                    <a:pt x="267" y="521"/>
                    <a:pt x="337" y="521"/>
                  </a:cubicBezTo>
                  <a:close/>
                  <a:moveTo>
                    <a:pt x="427" y="424"/>
                  </a:moveTo>
                  <a:lnTo>
                    <a:pt x="340" y="424"/>
                  </a:lnTo>
                  <a:lnTo>
                    <a:pt x="340" y="290"/>
                  </a:lnTo>
                  <a:lnTo>
                    <a:pt x="381" y="290"/>
                  </a:lnTo>
                  <a:lnTo>
                    <a:pt x="381" y="393"/>
                  </a:lnTo>
                  <a:lnTo>
                    <a:pt x="427" y="393"/>
                  </a:lnTo>
                  <a:lnTo>
                    <a:pt x="427" y="424"/>
                  </a:lnTo>
                  <a:lnTo>
                    <a:pt x="427" y="424"/>
                  </a:lnTo>
                  <a:close/>
                  <a:moveTo>
                    <a:pt x="251" y="36"/>
                  </a:moveTo>
                  <a:cubicBezTo>
                    <a:pt x="349" y="36"/>
                    <a:pt x="429" y="61"/>
                    <a:pt x="429" y="91"/>
                  </a:cubicBezTo>
                  <a:cubicBezTo>
                    <a:pt x="429" y="121"/>
                    <a:pt x="349" y="146"/>
                    <a:pt x="251" y="146"/>
                  </a:cubicBezTo>
                  <a:cubicBezTo>
                    <a:pt x="152" y="146"/>
                    <a:pt x="72" y="121"/>
                    <a:pt x="72" y="91"/>
                  </a:cubicBezTo>
                  <a:cubicBezTo>
                    <a:pt x="72" y="61"/>
                    <a:pt x="152" y="36"/>
                    <a:pt x="251" y="36"/>
                  </a:cubicBezTo>
                  <a:close/>
                  <a:moveTo>
                    <a:pt x="176" y="393"/>
                  </a:moveTo>
                  <a:cubicBezTo>
                    <a:pt x="175" y="397"/>
                    <a:pt x="174" y="400"/>
                    <a:pt x="172" y="403"/>
                  </a:cubicBezTo>
                  <a:cubicBezTo>
                    <a:pt x="170" y="406"/>
                    <a:pt x="168" y="409"/>
                    <a:pt x="165" y="412"/>
                  </a:cubicBezTo>
                  <a:cubicBezTo>
                    <a:pt x="162" y="415"/>
                    <a:pt x="159" y="418"/>
                    <a:pt x="154" y="420"/>
                  </a:cubicBezTo>
                  <a:cubicBezTo>
                    <a:pt x="150" y="422"/>
                    <a:pt x="145" y="424"/>
                    <a:pt x="139" y="425"/>
                  </a:cubicBezTo>
                  <a:cubicBezTo>
                    <a:pt x="133" y="426"/>
                    <a:pt x="126" y="427"/>
                    <a:pt x="118" y="427"/>
                  </a:cubicBezTo>
                  <a:cubicBezTo>
                    <a:pt x="114" y="427"/>
                    <a:pt x="110" y="427"/>
                    <a:pt x="106" y="426"/>
                  </a:cubicBezTo>
                  <a:cubicBezTo>
                    <a:pt x="103" y="426"/>
                    <a:pt x="99" y="425"/>
                    <a:pt x="96" y="424"/>
                  </a:cubicBezTo>
                  <a:cubicBezTo>
                    <a:pt x="93" y="424"/>
                    <a:pt x="90" y="423"/>
                    <a:pt x="87" y="422"/>
                  </a:cubicBezTo>
                  <a:cubicBezTo>
                    <a:pt x="84" y="421"/>
                    <a:pt x="82" y="420"/>
                    <a:pt x="80" y="420"/>
                  </a:cubicBezTo>
                  <a:lnTo>
                    <a:pt x="80" y="383"/>
                  </a:lnTo>
                  <a:cubicBezTo>
                    <a:pt x="82" y="384"/>
                    <a:pt x="85" y="386"/>
                    <a:pt x="88" y="388"/>
                  </a:cubicBezTo>
                  <a:cubicBezTo>
                    <a:pt x="91" y="389"/>
                    <a:pt x="94" y="391"/>
                    <a:pt x="97" y="392"/>
                  </a:cubicBezTo>
                  <a:cubicBezTo>
                    <a:pt x="100" y="393"/>
                    <a:pt x="104" y="394"/>
                    <a:pt x="107" y="395"/>
                  </a:cubicBezTo>
                  <a:cubicBezTo>
                    <a:pt x="111" y="396"/>
                    <a:pt x="114" y="397"/>
                    <a:pt x="117" y="397"/>
                  </a:cubicBezTo>
                  <a:cubicBezTo>
                    <a:pt x="120" y="397"/>
                    <a:pt x="123" y="396"/>
                    <a:pt x="124" y="396"/>
                  </a:cubicBezTo>
                  <a:cubicBezTo>
                    <a:pt x="126" y="395"/>
                    <a:pt x="128" y="394"/>
                    <a:pt x="129" y="393"/>
                  </a:cubicBezTo>
                  <a:cubicBezTo>
                    <a:pt x="130" y="393"/>
                    <a:pt x="130" y="392"/>
                    <a:pt x="131" y="391"/>
                  </a:cubicBezTo>
                  <a:cubicBezTo>
                    <a:pt x="131" y="389"/>
                    <a:pt x="131" y="388"/>
                    <a:pt x="131" y="387"/>
                  </a:cubicBezTo>
                  <a:cubicBezTo>
                    <a:pt x="131" y="385"/>
                    <a:pt x="131" y="383"/>
                    <a:pt x="130" y="382"/>
                  </a:cubicBezTo>
                  <a:cubicBezTo>
                    <a:pt x="129" y="380"/>
                    <a:pt x="127" y="379"/>
                    <a:pt x="126" y="378"/>
                  </a:cubicBezTo>
                  <a:cubicBezTo>
                    <a:pt x="124" y="377"/>
                    <a:pt x="121" y="375"/>
                    <a:pt x="119" y="374"/>
                  </a:cubicBezTo>
                  <a:cubicBezTo>
                    <a:pt x="116" y="373"/>
                    <a:pt x="113" y="372"/>
                    <a:pt x="110" y="371"/>
                  </a:cubicBezTo>
                  <a:cubicBezTo>
                    <a:pt x="105" y="369"/>
                    <a:pt x="100" y="366"/>
                    <a:pt x="95" y="363"/>
                  </a:cubicBezTo>
                  <a:cubicBezTo>
                    <a:pt x="91" y="360"/>
                    <a:pt x="88" y="357"/>
                    <a:pt x="85" y="354"/>
                  </a:cubicBezTo>
                  <a:cubicBezTo>
                    <a:pt x="83" y="350"/>
                    <a:pt x="81" y="346"/>
                    <a:pt x="80" y="343"/>
                  </a:cubicBezTo>
                  <a:cubicBezTo>
                    <a:pt x="78" y="339"/>
                    <a:pt x="78" y="335"/>
                    <a:pt x="78" y="331"/>
                  </a:cubicBezTo>
                  <a:cubicBezTo>
                    <a:pt x="78" y="324"/>
                    <a:pt x="79" y="318"/>
                    <a:pt x="82" y="313"/>
                  </a:cubicBezTo>
                  <a:cubicBezTo>
                    <a:pt x="84" y="307"/>
                    <a:pt x="88" y="303"/>
                    <a:pt x="93" y="299"/>
                  </a:cubicBezTo>
                  <a:cubicBezTo>
                    <a:pt x="98" y="296"/>
                    <a:pt x="104" y="293"/>
                    <a:pt x="110" y="291"/>
                  </a:cubicBezTo>
                  <a:cubicBezTo>
                    <a:pt x="117" y="289"/>
                    <a:pt x="124" y="288"/>
                    <a:pt x="132" y="288"/>
                  </a:cubicBezTo>
                  <a:cubicBezTo>
                    <a:pt x="137" y="288"/>
                    <a:pt x="141" y="288"/>
                    <a:pt x="145" y="288"/>
                  </a:cubicBezTo>
                  <a:cubicBezTo>
                    <a:pt x="149" y="289"/>
                    <a:pt x="152" y="289"/>
                    <a:pt x="155" y="290"/>
                  </a:cubicBezTo>
                  <a:cubicBezTo>
                    <a:pt x="158" y="290"/>
                    <a:pt x="161" y="291"/>
                    <a:pt x="163" y="291"/>
                  </a:cubicBezTo>
                  <a:cubicBezTo>
                    <a:pt x="166" y="292"/>
                    <a:pt x="168" y="292"/>
                    <a:pt x="170" y="293"/>
                  </a:cubicBezTo>
                  <a:lnTo>
                    <a:pt x="170" y="327"/>
                  </a:lnTo>
                  <a:cubicBezTo>
                    <a:pt x="168" y="326"/>
                    <a:pt x="166" y="325"/>
                    <a:pt x="163" y="324"/>
                  </a:cubicBezTo>
                  <a:cubicBezTo>
                    <a:pt x="161" y="323"/>
                    <a:pt x="158" y="322"/>
                    <a:pt x="155" y="321"/>
                  </a:cubicBezTo>
                  <a:cubicBezTo>
                    <a:pt x="152" y="320"/>
                    <a:pt x="149" y="319"/>
                    <a:pt x="146" y="319"/>
                  </a:cubicBezTo>
                  <a:cubicBezTo>
                    <a:pt x="143" y="318"/>
                    <a:pt x="140" y="318"/>
                    <a:pt x="136" y="318"/>
                  </a:cubicBezTo>
                  <a:cubicBezTo>
                    <a:pt x="132" y="318"/>
                    <a:pt x="128" y="319"/>
                    <a:pt x="125" y="320"/>
                  </a:cubicBezTo>
                  <a:cubicBezTo>
                    <a:pt x="123" y="322"/>
                    <a:pt x="121" y="324"/>
                    <a:pt x="121" y="327"/>
                  </a:cubicBezTo>
                  <a:cubicBezTo>
                    <a:pt x="121" y="329"/>
                    <a:pt x="122" y="330"/>
                    <a:pt x="122" y="331"/>
                  </a:cubicBezTo>
                  <a:cubicBezTo>
                    <a:pt x="123" y="333"/>
                    <a:pt x="124" y="334"/>
                    <a:pt x="125" y="335"/>
                  </a:cubicBezTo>
                  <a:cubicBezTo>
                    <a:pt x="126" y="336"/>
                    <a:pt x="128" y="337"/>
                    <a:pt x="130" y="338"/>
                  </a:cubicBezTo>
                  <a:cubicBezTo>
                    <a:pt x="133" y="339"/>
                    <a:pt x="135" y="340"/>
                    <a:pt x="138" y="341"/>
                  </a:cubicBezTo>
                  <a:cubicBezTo>
                    <a:pt x="144" y="344"/>
                    <a:pt x="149" y="346"/>
                    <a:pt x="154" y="349"/>
                  </a:cubicBezTo>
                  <a:cubicBezTo>
                    <a:pt x="159" y="351"/>
                    <a:pt x="163" y="354"/>
                    <a:pt x="166" y="358"/>
                  </a:cubicBezTo>
                  <a:cubicBezTo>
                    <a:pt x="169" y="361"/>
                    <a:pt x="172" y="365"/>
                    <a:pt x="174" y="369"/>
                  </a:cubicBezTo>
                  <a:cubicBezTo>
                    <a:pt x="176" y="373"/>
                    <a:pt x="177" y="378"/>
                    <a:pt x="177" y="384"/>
                  </a:cubicBezTo>
                  <a:cubicBezTo>
                    <a:pt x="177" y="387"/>
                    <a:pt x="176" y="390"/>
                    <a:pt x="176" y="393"/>
                  </a:cubicBezTo>
                  <a:close/>
                  <a:moveTo>
                    <a:pt x="191" y="386"/>
                  </a:moveTo>
                  <a:cubicBezTo>
                    <a:pt x="187" y="378"/>
                    <a:pt x="186" y="369"/>
                    <a:pt x="186" y="359"/>
                  </a:cubicBezTo>
                  <a:cubicBezTo>
                    <a:pt x="186" y="348"/>
                    <a:pt x="187" y="339"/>
                    <a:pt x="191" y="330"/>
                  </a:cubicBezTo>
                  <a:cubicBezTo>
                    <a:pt x="194" y="321"/>
                    <a:pt x="199" y="314"/>
                    <a:pt x="205" y="308"/>
                  </a:cubicBezTo>
                  <a:cubicBezTo>
                    <a:pt x="211" y="301"/>
                    <a:pt x="218" y="296"/>
                    <a:pt x="227" y="293"/>
                  </a:cubicBezTo>
                  <a:cubicBezTo>
                    <a:pt x="235" y="290"/>
                    <a:pt x="245" y="288"/>
                    <a:pt x="255" y="288"/>
                  </a:cubicBezTo>
                  <a:cubicBezTo>
                    <a:pt x="264" y="288"/>
                    <a:pt x="273" y="289"/>
                    <a:pt x="281" y="293"/>
                  </a:cubicBezTo>
                  <a:cubicBezTo>
                    <a:pt x="289" y="296"/>
                    <a:pt x="296" y="300"/>
                    <a:pt x="302" y="307"/>
                  </a:cubicBezTo>
                  <a:cubicBezTo>
                    <a:pt x="308" y="312"/>
                    <a:pt x="313" y="320"/>
                    <a:pt x="316" y="328"/>
                  </a:cubicBezTo>
                  <a:cubicBezTo>
                    <a:pt x="319" y="337"/>
                    <a:pt x="321" y="346"/>
                    <a:pt x="321" y="357"/>
                  </a:cubicBezTo>
                  <a:cubicBezTo>
                    <a:pt x="321" y="365"/>
                    <a:pt x="320" y="372"/>
                    <a:pt x="318" y="378"/>
                  </a:cubicBezTo>
                  <a:cubicBezTo>
                    <a:pt x="316" y="385"/>
                    <a:pt x="314" y="391"/>
                    <a:pt x="310" y="396"/>
                  </a:cubicBezTo>
                  <a:cubicBezTo>
                    <a:pt x="307" y="402"/>
                    <a:pt x="303" y="406"/>
                    <a:pt x="299" y="410"/>
                  </a:cubicBezTo>
                  <a:cubicBezTo>
                    <a:pt x="294" y="414"/>
                    <a:pt x="289" y="418"/>
                    <a:pt x="284" y="420"/>
                  </a:cubicBezTo>
                  <a:lnTo>
                    <a:pt x="329" y="459"/>
                  </a:lnTo>
                  <a:lnTo>
                    <a:pt x="278" y="459"/>
                  </a:lnTo>
                  <a:lnTo>
                    <a:pt x="248" y="427"/>
                  </a:lnTo>
                  <a:cubicBezTo>
                    <a:pt x="239" y="426"/>
                    <a:pt x="231" y="424"/>
                    <a:pt x="224" y="421"/>
                  </a:cubicBezTo>
                  <a:cubicBezTo>
                    <a:pt x="216" y="418"/>
                    <a:pt x="210" y="413"/>
                    <a:pt x="204" y="407"/>
                  </a:cubicBezTo>
                  <a:cubicBezTo>
                    <a:pt x="198" y="402"/>
                    <a:pt x="194" y="395"/>
                    <a:pt x="191" y="386"/>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168" name="Freeform 14">
              <a:extLst>
                <a:ext uri="{FF2B5EF4-FFF2-40B4-BE49-F238E27FC236}">
                  <a16:creationId xmlns:a16="http://schemas.microsoft.com/office/drawing/2014/main" id="{6FE0F2F1-25AC-4D3C-8F6E-5A5CF46EC2BE}"/>
                </a:ext>
              </a:extLst>
            </p:cNvPr>
            <p:cNvSpPr>
              <a:spLocks noEditPoints="1"/>
            </p:cNvSpPr>
            <p:nvPr/>
          </p:nvSpPr>
          <p:spPr bwMode="auto">
            <a:xfrm>
              <a:off x="4833" y="2047"/>
              <a:ext cx="193" cy="121"/>
            </a:xfrm>
            <a:custGeom>
              <a:avLst/>
              <a:gdLst>
                <a:gd name="T0" fmla="*/ 492 w 492"/>
                <a:gd name="T1" fmla="*/ 249 h 312"/>
                <a:gd name="T2" fmla="*/ 433 w 492"/>
                <a:gd name="T3" fmla="*/ 185 h 312"/>
                <a:gd name="T4" fmla="*/ 436 w 492"/>
                <a:gd name="T5" fmla="*/ 155 h 312"/>
                <a:gd name="T6" fmla="*/ 281 w 492"/>
                <a:gd name="T7" fmla="*/ 0 h 312"/>
                <a:gd name="T8" fmla="*/ 136 w 492"/>
                <a:gd name="T9" fmla="*/ 98 h 312"/>
                <a:gd name="T10" fmla="*/ 109 w 492"/>
                <a:gd name="T11" fmla="*/ 94 h 312"/>
                <a:gd name="T12" fmla="*/ 0 w 492"/>
                <a:gd name="T13" fmla="*/ 203 h 312"/>
                <a:gd name="T14" fmla="*/ 107 w 492"/>
                <a:gd name="T15" fmla="*/ 312 h 312"/>
                <a:gd name="T16" fmla="*/ 433 w 492"/>
                <a:gd name="T17" fmla="*/ 312 h 312"/>
                <a:gd name="T18" fmla="*/ 446 w 492"/>
                <a:gd name="T19" fmla="*/ 312 h 312"/>
                <a:gd name="T20" fmla="*/ 445 w 492"/>
                <a:gd name="T21" fmla="*/ 310 h 312"/>
                <a:gd name="T22" fmla="*/ 492 w 492"/>
                <a:gd name="T23" fmla="*/ 249 h 312"/>
                <a:gd name="T24" fmla="*/ 433 w 492"/>
                <a:gd name="T25" fmla="*/ 295 h 312"/>
                <a:gd name="T26" fmla="*/ 109 w 492"/>
                <a:gd name="T27" fmla="*/ 295 h 312"/>
                <a:gd name="T28" fmla="*/ 17 w 492"/>
                <a:gd name="T29" fmla="*/ 203 h 312"/>
                <a:gd name="T30" fmla="*/ 109 w 492"/>
                <a:gd name="T31" fmla="*/ 112 h 312"/>
                <a:gd name="T32" fmla="*/ 139 w 492"/>
                <a:gd name="T33" fmla="*/ 117 h 312"/>
                <a:gd name="T34" fmla="*/ 147 w 492"/>
                <a:gd name="T35" fmla="*/ 120 h 312"/>
                <a:gd name="T36" fmla="*/ 150 w 492"/>
                <a:gd name="T37" fmla="*/ 111 h 312"/>
                <a:gd name="T38" fmla="*/ 281 w 492"/>
                <a:gd name="T39" fmla="*/ 17 h 312"/>
                <a:gd name="T40" fmla="*/ 419 w 492"/>
                <a:gd name="T41" fmla="*/ 155 h 312"/>
                <a:gd name="T42" fmla="*/ 414 w 492"/>
                <a:gd name="T43" fmla="*/ 192 h 312"/>
                <a:gd name="T44" fmla="*/ 410 w 492"/>
                <a:gd name="T45" fmla="*/ 204 h 312"/>
                <a:gd name="T46" fmla="*/ 423 w 492"/>
                <a:gd name="T47" fmla="*/ 203 h 312"/>
                <a:gd name="T48" fmla="*/ 429 w 492"/>
                <a:gd name="T49" fmla="*/ 202 h 312"/>
                <a:gd name="T50" fmla="*/ 475 w 492"/>
                <a:gd name="T51" fmla="*/ 249 h 312"/>
                <a:gd name="T52" fmla="*/ 433 w 492"/>
                <a:gd name="T53" fmla="*/ 29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2" h="312">
                  <a:moveTo>
                    <a:pt x="492" y="249"/>
                  </a:moveTo>
                  <a:cubicBezTo>
                    <a:pt x="492" y="215"/>
                    <a:pt x="466" y="187"/>
                    <a:pt x="433" y="185"/>
                  </a:cubicBezTo>
                  <a:cubicBezTo>
                    <a:pt x="435" y="175"/>
                    <a:pt x="436" y="165"/>
                    <a:pt x="436" y="155"/>
                  </a:cubicBezTo>
                  <a:cubicBezTo>
                    <a:pt x="436" y="70"/>
                    <a:pt x="366" y="0"/>
                    <a:pt x="281" y="0"/>
                  </a:cubicBezTo>
                  <a:cubicBezTo>
                    <a:pt x="217" y="0"/>
                    <a:pt x="160" y="39"/>
                    <a:pt x="136" y="98"/>
                  </a:cubicBezTo>
                  <a:cubicBezTo>
                    <a:pt x="127" y="96"/>
                    <a:pt x="118" y="94"/>
                    <a:pt x="109" y="94"/>
                  </a:cubicBezTo>
                  <a:cubicBezTo>
                    <a:pt x="49" y="94"/>
                    <a:pt x="0" y="143"/>
                    <a:pt x="0" y="203"/>
                  </a:cubicBezTo>
                  <a:cubicBezTo>
                    <a:pt x="0" y="262"/>
                    <a:pt x="47" y="311"/>
                    <a:pt x="107" y="312"/>
                  </a:cubicBezTo>
                  <a:lnTo>
                    <a:pt x="433" y="312"/>
                  </a:lnTo>
                  <a:lnTo>
                    <a:pt x="446" y="312"/>
                  </a:lnTo>
                  <a:lnTo>
                    <a:pt x="445" y="310"/>
                  </a:lnTo>
                  <a:cubicBezTo>
                    <a:pt x="472" y="303"/>
                    <a:pt x="492" y="278"/>
                    <a:pt x="492" y="249"/>
                  </a:cubicBezTo>
                  <a:close/>
                  <a:moveTo>
                    <a:pt x="433" y="295"/>
                  </a:moveTo>
                  <a:lnTo>
                    <a:pt x="109" y="295"/>
                  </a:lnTo>
                  <a:cubicBezTo>
                    <a:pt x="58" y="295"/>
                    <a:pt x="17" y="254"/>
                    <a:pt x="17" y="203"/>
                  </a:cubicBezTo>
                  <a:cubicBezTo>
                    <a:pt x="17" y="153"/>
                    <a:pt x="58" y="112"/>
                    <a:pt x="109" y="112"/>
                  </a:cubicBezTo>
                  <a:cubicBezTo>
                    <a:pt x="119" y="112"/>
                    <a:pt x="129" y="113"/>
                    <a:pt x="139" y="117"/>
                  </a:cubicBezTo>
                  <a:lnTo>
                    <a:pt x="147" y="120"/>
                  </a:lnTo>
                  <a:lnTo>
                    <a:pt x="150" y="111"/>
                  </a:lnTo>
                  <a:cubicBezTo>
                    <a:pt x="169" y="55"/>
                    <a:pt x="221" y="17"/>
                    <a:pt x="281" y="17"/>
                  </a:cubicBezTo>
                  <a:cubicBezTo>
                    <a:pt x="357" y="17"/>
                    <a:pt x="419" y="79"/>
                    <a:pt x="419" y="155"/>
                  </a:cubicBezTo>
                  <a:cubicBezTo>
                    <a:pt x="419" y="167"/>
                    <a:pt x="417" y="180"/>
                    <a:pt x="414" y="192"/>
                  </a:cubicBezTo>
                  <a:lnTo>
                    <a:pt x="410" y="204"/>
                  </a:lnTo>
                  <a:lnTo>
                    <a:pt x="423" y="203"/>
                  </a:lnTo>
                  <a:cubicBezTo>
                    <a:pt x="425" y="202"/>
                    <a:pt x="427" y="202"/>
                    <a:pt x="429" y="202"/>
                  </a:cubicBezTo>
                  <a:cubicBezTo>
                    <a:pt x="454" y="202"/>
                    <a:pt x="475" y="223"/>
                    <a:pt x="475" y="249"/>
                  </a:cubicBezTo>
                  <a:cubicBezTo>
                    <a:pt x="475" y="272"/>
                    <a:pt x="456" y="293"/>
                    <a:pt x="433" y="295"/>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grpSp>
      <p:sp>
        <p:nvSpPr>
          <p:cNvPr id="170" name="TextBox 169">
            <a:extLst>
              <a:ext uri="{FF2B5EF4-FFF2-40B4-BE49-F238E27FC236}">
                <a16:creationId xmlns:a16="http://schemas.microsoft.com/office/drawing/2014/main" id="{746A530F-93AC-44EA-9405-CF08DD2FADB3}"/>
              </a:ext>
            </a:extLst>
          </p:cNvPr>
          <p:cNvSpPr txBox="1"/>
          <p:nvPr/>
        </p:nvSpPr>
        <p:spPr>
          <a:xfrm>
            <a:off x="5472796" y="5121022"/>
            <a:ext cx="546170" cy="892717"/>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dirty="0">
                <a:solidFill>
                  <a:srgbClr val="FFFFFF"/>
                </a:solidFill>
                <a:latin typeface="Segoe UI Semilight"/>
              </a:rPr>
              <a:t>SQL</a:t>
            </a:r>
          </a:p>
        </p:txBody>
      </p:sp>
      <p:sp>
        <p:nvSpPr>
          <p:cNvPr id="171" name="TextBox 170">
            <a:extLst>
              <a:ext uri="{FF2B5EF4-FFF2-40B4-BE49-F238E27FC236}">
                <a16:creationId xmlns:a16="http://schemas.microsoft.com/office/drawing/2014/main" id="{54E0B711-7646-42CD-8A16-15295F57D3A7}"/>
              </a:ext>
            </a:extLst>
          </p:cNvPr>
          <p:cNvSpPr txBox="1"/>
          <p:nvPr/>
        </p:nvSpPr>
        <p:spPr>
          <a:xfrm>
            <a:off x="7486004" y="5058570"/>
            <a:ext cx="546170" cy="1143316"/>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a:solidFill>
                  <a:srgbClr val="FFFFFF"/>
                </a:solidFill>
                <a:latin typeface="Segoe UI Semilight"/>
              </a:rPr>
              <a:t>DB Subnet</a:t>
            </a:r>
          </a:p>
        </p:txBody>
      </p:sp>
      <p:sp>
        <p:nvSpPr>
          <p:cNvPr id="172" name="Rectangle 171">
            <a:extLst>
              <a:ext uri="{FF2B5EF4-FFF2-40B4-BE49-F238E27FC236}">
                <a16:creationId xmlns:a16="http://schemas.microsoft.com/office/drawing/2014/main" id="{EF06E1D8-7666-4A45-93DE-73C37E62AA36}"/>
              </a:ext>
            </a:extLst>
          </p:cNvPr>
          <p:cNvSpPr/>
          <p:nvPr/>
        </p:nvSpPr>
        <p:spPr bwMode="auto">
          <a:xfrm>
            <a:off x="136308" y="2278878"/>
            <a:ext cx="8056152" cy="4610438"/>
          </a:xfrm>
          <a:prstGeom prst="rect">
            <a:avLst/>
          </a:prstGeom>
          <a:noFill/>
          <a:ln w="25400" cap="rnd" cmpd="sng">
            <a:solidFill>
              <a:schemeClr val="bg1"/>
            </a:solidFill>
            <a:prstDash val="sys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a:extLst>
              <a:ext uri="{FF2B5EF4-FFF2-40B4-BE49-F238E27FC236}">
                <a16:creationId xmlns:a16="http://schemas.microsoft.com/office/drawing/2014/main" id="{6BE64237-7438-400C-9CE4-1EA961346EB1}"/>
              </a:ext>
            </a:extLst>
          </p:cNvPr>
          <p:cNvSpPr txBox="1"/>
          <p:nvPr/>
        </p:nvSpPr>
        <p:spPr>
          <a:xfrm>
            <a:off x="8102883" y="2278881"/>
            <a:ext cx="546170" cy="4471207"/>
          </a:xfrm>
          <a:prstGeom prst="rect">
            <a:avLst/>
          </a:prstGeom>
          <a:noFill/>
        </p:spPr>
        <p:txBody>
          <a:bodyPr vert="vert270" wrap="square" lIns="186497" tIns="149198" rIns="186497" bIns="149198" rtlCol="0">
            <a:spAutoFit/>
          </a:bodyPr>
          <a:lstStyle/>
          <a:p>
            <a:pPr algn="ctr" defTabSz="932504">
              <a:lnSpc>
                <a:spcPct val="90000"/>
              </a:lnSpc>
              <a:spcAft>
                <a:spcPts val="612"/>
              </a:spcAft>
              <a:defRPr/>
            </a:pPr>
            <a:r>
              <a:rPr lang="en-US" sz="1224" b="1" dirty="0" err="1">
                <a:solidFill>
                  <a:srgbClr val="FFFFFF"/>
                </a:solidFill>
                <a:latin typeface="Segoe UI Semilight"/>
              </a:rPr>
              <a:t>VNet</a:t>
            </a:r>
            <a:endParaRPr lang="en-US" sz="1224" b="1" dirty="0">
              <a:solidFill>
                <a:srgbClr val="FFFFFF"/>
              </a:solidFill>
              <a:latin typeface="Segoe UI Semilight"/>
            </a:endParaRPr>
          </a:p>
        </p:txBody>
      </p:sp>
      <p:cxnSp>
        <p:nvCxnSpPr>
          <p:cNvPr id="174" name="Straight Arrow Connector 173">
            <a:extLst>
              <a:ext uri="{FF2B5EF4-FFF2-40B4-BE49-F238E27FC236}">
                <a16:creationId xmlns:a16="http://schemas.microsoft.com/office/drawing/2014/main" id="{EF521330-4221-4119-A669-EE17358DB138}"/>
              </a:ext>
            </a:extLst>
          </p:cNvPr>
          <p:cNvCxnSpPr>
            <a:cxnSpLocks/>
            <a:stCxn id="88" idx="7"/>
          </p:cNvCxnSpPr>
          <p:nvPr/>
        </p:nvCxnSpPr>
        <p:spPr>
          <a:xfrm flipH="1">
            <a:off x="1270253" y="2097351"/>
            <a:ext cx="2698944" cy="57583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5CDEC941-F881-4457-B6A1-C52AA7EAEE51}"/>
              </a:ext>
            </a:extLst>
          </p:cNvPr>
          <p:cNvCxnSpPr>
            <a:cxnSpLocks/>
            <a:stCxn id="88" idx="7"/>
            <a:endCxn id="134" idx="45"/>
          </p:cNvCxnSpPr>
          <p:nvPr/>
        </p:nvCxnSpPr>
        <p:spPr>
          <a:xfrm flipH="1">
            <a:off x="3953109" y="2097351"/>
            <a:ext cx="16089" cy="59380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F90B4B46-CF06-4277-8CDA-AE0554C21F43}"/>
              </a:ext>
            </a:extLst>
          </p:cNvPr>
          <p:cNvCxnSpPr>
            <a:cxnSpLocks/>
            <a:stCxn id="88" idx="7"/>
          </p:cNvCxnSpPr>
          <p:nvPr/>
        </p:nvCxnSpPr>
        <p:spPr>
          <a:xfrm>
            <a:off x="3969197" y="2097351"/>
            <a:ext cx="2325841" cy="53799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4365EBC4-7C40-4962-BD20-52AB36F88620}"/>
              </a:ext>
            </a:extLst>
          </p:cNvPr>
          <p:cNvCxnSpPr>
            <a:cxnSpLocks/>
          </p:cNvCxnSpPr>
          <p:nvPr/>
        </p:nvCxnSpPr>
        <p:spPr>
          <a:xfrm>
            <a:off x="1411436" y="4454299"/>
            <a:ext cx="0" cy="55474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F53F8B24-AFBB-4918-8D94-85BD62AE670D}"/>
              </a:ext>
            </a:extLst>
          </p:cNvPr>
          <p:cNvCxnSpPr>
            <a:cxnSpLocks/>
          </p:cNvCxnSpPr>
          <p:nvPr/>
        </p:nvCxnSpPr>
        <p:spPr>
          <a:xfrm>
            <a:off x="3982495" y="4454299"/>
            <a:ext cx="0" cy="55474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48C87E06-90D6-46FC-B674-04B03382B6B7}"/>
              </a:ext>
            </a:extLst>
          </p:cNvPr>
          <p:cNvCxnSpPr>
            <a:cxnSpLocks/>
          </p:cNvCxnSpPr>
          <p:nvPr/>
        </p:nvCxnSpPr>
        <p:spPr>
          <a:xfrm>
            <a:off x="6359187" y="4483486"/>
            <a:ext cx="0" cy="55474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0" name="Freeform 5">
            <a:extLst>
              <a:ext uri="{FF2B5EF4-FFF2-40B4-BE49-F238E27FC236}">
                <a16:creationId xmlns:a16="http://schemas.microsoft.com/office/drawing/2014/main" id="{1EB05CE2-4986-44BE-BDB6-4D5784AFF60B}"/>
              </a:ext>
            </a:extLst>
          </p:cNvPr>
          <p:cNvSpPr>
            <a:spLocks noEditPoints="1"/>
          </p:cNvSpPr>
          <p:nvPr/>
        </p:nvSpPr>
        <p:spPr bwMode="auto">
          <a:xfrm>
            <a:off x="3616458" y="3520921"/>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81" name="Freeform 5">
            <a:extLst>
              <a:ext uri="{FF2B5EF4-FFF2-40B4-BE49-F238E27FC236}">
                <a16:creationId xmlns:a16="http://schemas.microsoft.com/office/drawing/2014/main" id="{C8BF9FF7-BED2-4C6D-8BB7-050D4EA3DC2E}"/>
              </a:ext>
            </a:extLst>
          </p:cNvPr>
          <p:cNvSpPr>
            <a:spLocks noEditPoints="1"/>
          </p:cNvSpPr>
          <p:nvPr/>
        </p:nvSpPr>
        <p:spPr bwMode="auto">
          <a:xfrm>
            <a:off x="3540181" y="3563313"/>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nvGrpSpPr>
          <p:cNvPr id="182" name="Group 4">
            <a:extLst>
              <a:ext uri="{FF2B5EF4-FFF2-40B4-BE49-F238E27FC236}">
                <a16:creationId xmlns:a16="http://schemas.microsoft.com/office/drawing/2014/main" id="{942482C5-2DA5-46AA-88B6-5394D28D0FFB}"/>
              </a:ext>
            </a:extLst>
          </p:cNvPr>
          <p:cNvGrpSpPr>
            <a:grpSpLocks noChangeAspect="1"/>
          </p:cNvGrpSpPr>
          <p:nvPr/>
        </p:nvGrpSpPr>
        <p:grpSpPr bwMode="auto">
          <a:xfrm>
            <a:off x="3471403" y="3603048"/>
            <a:ext cx="972553" cy="892716"/>
            <a:chOff x="2299" y="1462"/>
            <a:chExt cx="268" cy="246"/>
          </a:xfrm>
          <a:solidFill>
            <a:schemeClr val="bg1"/>
          </a:solidFill>
        </p:grpSpPr>
        <p:sp>
          <p:nvSpPr>
            <p:cNvPr id="183" name="Freeform 5">
              <a:extLst>
                <a:ext uri="{FF2B5EF4-FFF2-40B4-BE49-F238E27FC236}">
                  <a16:creationId xmlns:a16="http://schemas.microsoft.com/office/drawing/2014/main" id="{468D678B-60C9-49EB-9D14-7B1EFE38EDAD}"/>
                </a:ext>
              </a:extLst>
            </p:cNvPr>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84" name="Freeform 6">
              <a:extLst>
                <a:ext uri="{FF2B5EF4-FFF2-40B4-BE49-F238E27FC236}">
                  <a16:creationId xmlns:a16="http://schemas.microsoft.com/office/drawing/2014/main" id="{A2F240D3-9410-4195-AFF5-EC5CF838467D}"/>
                </a:ext>
              </a:extLst>
            </p:cNvPr>
            <p:cNvSpPr>
              <a:spLocks/>
            </p:cNvSpPr>
            <p:nvPr/>
          </p:nvSpPr>
          <p:spPr bwMode="auto">
            <a:xfrm>
              <a:off x="2417" y="1499"/>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85" name="Freeform 7">
              <a:extLst>
                <a:ext uri="{FF2B5EF4-FFF2-40B4-BE49-F238E27FC236}">
                  <a16:creationId xmlns:a16="http://schemas.microsoft.com/office/drawing/2014/main" id="{B47AA12F-A195-477D-833D-82899FB7C815}"/>
                </a:ext>
              </a:extLst>
            </p:cNvPr>
            <p:cNvSpPr>
              <a:spLocks/>
            </p:cNvSpPr>
            <p:nvPr/>
          </p:nvSpPr>
          <p:spPr bwMode="auto">
            <a:xfrm>
              <a:off x="2463" y="1531"/>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86" name="Freeform 8">
              <a:extLst>
                <a:ext uri="{FF2B5EF4-FFF2-40B4-BE49-F238E27FC236}">
                  <a16:creationId xmlns:a16="http://schemas.microsoft.com/office/drawing/2014/main" id="{3DE9FED3-D62A-4A68-970F-6E4A9B4DBAC7}"/>
                </a:ext>
              </a:extLst>
            </p:cNvPr>
            <p:cNvSpPr>
              <a:spLocks/>
            </p:cNvSpPr>
            <p:nvPr/>
          </p:nvSpPr>
          <p:spPr bwMode="auto">
            <a:xfrm>
              <a:off x="2413" y="1531"/>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sp>
        <p:nvSpPr>
          <p:cNvPr id="187" name="TextBox 186">
            <a:extLst>
              <a:ext uri="{FF2B5EF4-FFF2-40B4-BE49-F238E27FC236}">
                <a16:creationId xmlns:a16="http://schemas.microsoft.com/office/drawing/2014/main" id="{EDD5A680-08FA-4EE0-A639-413CF8AB8774}"/>
              </a:ext>
            </a:extLst>
          </p:cNvPr>
          <p:cNvSpPr txBox="1"/>
          <p:nvPr/>
        </p:nvSpPr>
        <p:spPr>
          <a:xfrm>
            <a:off x="3074067" y="3501889"/>
            <a:ext cx="546170" cy="1044094"/>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a:solidFill>
                  <a:srgbClr val="FFFFFF"/>
                </a:solidFill>
                <a:latin typeface="Segoe UI Semilight"/>
              </a:rPr>
              <a:t>Web App</a:t>
            </a:r>
          </a:p>
        </p:txBody>
      </p:sp>
      <p:sp>
        <p:nvSpPr>
          <p:cNvPr id="188" name="Freeform 5">
            <a:extLst>
              <a:ext uri="{FF2B5EF4-FFF2-40B4-BE49-F238E27FC236}">
                <a16:creationId xmlns:a16="http://schemas.microsoft.com/office/drawing/2014/main" id="{634BCBB7-D674-436C-9548-DD2D1A8214E3}"/>
              </a:ext>
            </a:extLst>
          </p:cNvPr>
          <p:cNvSpPr>
            <a:spLocks noEditPoints="1"/>
          </p:cNvSpPr>
          <p:nvPr/>
        </p:nvSpPr>
        <p:spPr bwMode="auto">
          <a:xfrm>
            <a:off x="6010942" y="3524504"/>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89" name="Freeform 5">
            <a:extLst>
              <a:ext uri="{FF2B5EF4-FFF2-40B4-BE49-F238E27FC236}">
                <a16:creationId xmlns:a16="http://schemas.microsoft.com/office/drawing/2014/main" id="{7AD71834-68D7-4AEB-85CB-D3478FDFF315}"/>
              </a:ext>
            </a:extLst>
          </p:cNvPr>
          <p:cNvSpPr>
            <a:spLocks noEditPoints="1"/>
          </p:cNvSpPr>
          <p:nvPr/>
        </p:nvSpPr>
        <p:spPr bwMode="auto">
          <a:xfrm>
            <a:off x="5934665" y="3566896"/>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nvGrpSpPr>
          <p:cNvPr id="190" name="Group 4">
            <a:extLst>
              <a:ext uri="{FF2B5EF4-FFF2-40B4-BE49-F238E27FC236}">
                <a16:creationId xmlns:a16="http://schemas.microsoft.com/office/drawing/2014/main" id="{5AB57F4B-7BD2-4D54-9D7E-AF226646C867}"/>
              </a:ext>
            </a:extLst>
          </p:cNvPr>
          <p:cNvGrpSpPr>
            <a:grpSpLocks noChangeAspect="1"/>
          </p:cNvGrpSpPr>
          <p:nvPr/>
        </p:nvGrpSpPr>
        <p:grpSpPr bwMode="auto">
          <a:xfrm>
            <a:off x="5865887" y="3606631"/>
            <a:ext cx="972553" cy="892716"/>
            <a:chOff x="2299" y="1462"/>
            <a:chExt cx="268" cy="246"/>
          </a:xfrm>
          <a:solidFill>
            <a:schemeClr val="bg1"/>
          </a:solidFill>
        </p:grpSpPr>
        <p:sp>
          <p:nvSpPr>
            <p:cNvPr id="191" name="Freeform 5">
              <a:extLst>
                <a:ext uri="{FF2B5EF4-FFF2-40B4-BE49-F238E27FC236}">
                  <a16:creationId xmlns:a16="http://schemas.microsoft.com/office/drawing/2014/main" id="{A22C331B-E773-49CA-98F6-0BA78552EB6F}"/>
                </a:ext>
              </a:extLst>
            </p:cNvPr>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92" name="Freeform 6">
              <a:extLst>
                <a:ext uri="{FF2B5EF4-FFF2-40B4-BE49-F238E27FC236}">
                  <a16:creationId xmlns:a16="http://schemas.microsoft.com/office/drawing/2014/main" id="{F7B3570F-3AC1-44D2-9912-7C3341A56948}"/>
                </a:ext>
              </a:extLst>
            </p:cNvPr>
            <p:cNvSpPr>
              <a:spLocks/>
            </p:cNvSpPr>
            <p:nvPr/>
          </p:nvSpPr>
          <p:spPr bwMode="auto">
            <a:xfrm>
              <a:off x="2417" y="1499"/>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93" name="Freeform 7">
              <a:extLst>
                <a:ext uri="{FF2B5EF4-FFF2-40B4-BE49-F238E27FC236}">
                  <a16:creationId xmlns:a16="http://schemas.microsoft.com/office/drawing/2014/main" id="{C9AE8F48-883E-44DA-866B-8ADE468657FC}"/>
                </a:ext>
              </a:extLst>
            </p:cNvPr>
            <p:cNvSpPr>
              <a:spLocks/>
            </p:cNvSpPr>
            <p:nvPr/>
          </p:nvSpPr>
          <p:spPr bwMode="auto">
            <a:xfrm>
              <a:off x="2463" y="1531"/>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94" name="Freeform 8">
              <a:extLst>
                <a:ext uri="{FF2B5EF4-FFF2-40B4-BE49-F238E27FC236}">
                  <a16:creationId xmlns:a16="http://schemas.microsoft.com/office/drawing/2014/main" id="{59CCE536-A19A-41F1-AD5C-367919C05B0B}"/>
                </a:ext>
              </a:extLst>
            </p:cNvPr>
            <p:cNvSpPr>
              <a:spLocks/>
            </p:cNvSpPr>
            <p:nvPr/>
          </p:nvSpPr>
          <p:spPr bwMode="auto">
            <a:xfrm>
              <a:off x="2413" y="1531"/>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sp>
        <p:nvSpPr>
          <p:cNvPr id="195" name="TextBox 194">
            <a:extLst>
              <a:ext uri="{FF2B5EF4-FFF2-40B4-BE49-F238E27FC236}">
                <a16:creationId xmlns:a16="http://schemas.microsoft.com/office/drawing/2014/main" id="{F923138E-83EC-4D6A-8E69-A8A6D89AF2B3}"/>
              </a:ext>
            </a:extLst>
          </p:cNvPr>
          <p:cNvSpPr txBox="1"/>
          <p:nvPr/>
        </p:nvSpPr>
        <p:spPr>
          <a:xfrm>
            <a:off x="5468550" y="3505472"/>
            <a:ext cx="546170" cy="1044094"/>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a:solidFill>
                  <a:srgbClr val="FFFFFF"/>
                </a:solidFill>
                <a:latin typeface="Segoe UI Semilight"/>
              </a:rPr>
              <a:t>Web App</a:t>
            </a:r>
          </a:p>
        </p:txBody>
      </p:sp>
      <p:sp>
        <p:nvSpPr>
          <p:cNvPr id="196" name="Title 1">
            <a:extLst>
              <a:ext uri="{FF2B5EF4-FFF2-40B4-BE49-F238E27FC236}">
                <a16:creationId xmlns:a16="http://schemas.microsoft.com/office/drawing/2014/main" id="{DADA5664-8170-4913-9463-1B817561EC74}"/>
              </a:ext>
            </a:extLst>
          </p:cNvPr>
          <p:cNvSpPr txBox="1">
            <a:spLocks/>
          </p:cNvSpPr>
          <p:nvPr/>
        </p:nvSpPr>
        <p:spPr>
          <a:xfrm>
            <a:off x="274605" y="295683"/>
            <a:ext cx="11888046" cy="91745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49">
              <a:defRPr/>
            </a:pPr>
            <a:r>
              <a:rPr lang="en-US" dirty="0">
                <a:gradFill>
                  <a:gsLst>
                    <a:gs pos="1250">
                      <a:srgbClr val="353535"/>
                    </a:gs>
                    <a:gs pos="100000">
                      <a:srgbClr val="353535"/>
                    </a:gs>
                  </a:gsLst>
                  <a:lin ang="5400000" scaled="0"/>
                </a:gradFill>
                <a:latin typeface="Segoe UI Light"/>
              </a:rPr>
              <a:t>Example Architecture: Web App with AZs</a:t>
            </a:r>
            <a:endParaRPr lang="en-US" sz="2400" spc="0" dirty="0">
              <a:gradFill>
                <a:gsLst>
                  <a:gs pos="2655">
                    <a:srgbClr val="0078D7"/>
                  </a:gs>
                  <a:gs pos="33000">
                    <a:srgbClr val="0078D7"/>
                  </a:gs>
                </a:gsLst>
                <a:lin ang="5400000" scaled="1"/>
              </a:gradFill>
              <a:latin typeface="Segoe UI Semilight"/>
              <a:cs typeface="Segoe UI Semilight" panose="020B0402040204020203" pitchFamily="34" charset="0"/>
            </a:endParaRPr>
          </a:p>
        </p:txBody>
      </p:sp>
      <p:cxnSp>
        <p:nvCxnSpPr>
          <p:cNvPr id="197" name="Straight Arrow Connector 196">
            <a:extLst>
              <a:ext uri="{FF2B5EF4-FFF2-40B4-BE49-F238E27FC236}">
                <a16:creationId xmlns:a16="http://schemas.microsoft.com/office/drawing/2014/main" id="{329C3B08-4A36-4F90-B9FB-605BAAF1F32E}"/>
              </a:ext>
            </a:extLst>
          </p:cNvPr>
          <p:cNvCxnSpPr>
            <a:cxnSpLocks/>
            <a:stCxn id="92" idx="26"/>
          </p:cNvCxnSpPr>
          <p:nvPr/>
        </p:nvCxnSpPr>
        <p:spPr>
          <a:xfrm flipH="1">
            <a:off x="1427142" y="3134362"/>
            <a:ext cx="5122" cy="36545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056098E5-E37D-4DB7-9E88-4D8844E01A32}"/>
              </a:ext>
            </a:extLst>
          </p:cNvPr>
          <p:cNvCxnSpPr>
            <a:cxnSpLocks/>
          </p:cNvCxnSpPr>
          <p:nvPr/>
        </p:nvCxnSpPr>
        <p:spPr>
          <a:xfrm flipH="1">
            <a:off x="3966538" y="3081991"/>
            <a:ext cx="5122" cy="36545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B4866A50-1BDB-4FD6-9692-176A50086174}"/>
              </a:ext>
            </a:extLst>
          </p:cNvPr>
          <p:cNvCxnSpPr>
            <a:cxnSpLocks/>
          </p:cNvCxnSpPr>
          <p:nvPr/>
        </p:nvCxnSpPr>
        <p:spPr>
          <a:xfrm flipH="1">
            <a:off x="6369367" y="3114441"/>
            <a:ext cx="5122" cy="36545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2EDC95EE-EBAC-411C-B6E2-322DF840D51D}"/>
              </a:ext>
            </a:extLst>
          </p:cNvPr>
          <p:cNvSpPr txBox="1"/>
          <p:nvPr/>
        </p:nvSpPr>
        <p:spPr>
          <a:xfrm>
            <a:off x="8659143" y="2204583"/>
            <a:ext cx="3664635" cy="3249706"/>
          </a:xfrm>
          <a:prstGeom prst="rect">
            <a:avLst/>
          </a:prstGeom>
          <a:noFill/>
        </p:spPr>
        <p:txBody>
          <a:bodyPr wrap="square" lIns="182857" tIns="146285" rIns="182857" bIns="146285" rtlCol="0">
            <a:spAutoFit/>
          </a:bodyPr>
          <a:lstStyle/>
          <a:p>
            <a:pPr marL="342866" indent="-342866" defTabSz="932649">
              <a:lnSpc>
                <a:spcPct val="90000"/>
              </a:lnSpc>
              <a:spcAft>
                <a:spcPts val="600"/>
              </a:spcAft>
              <a:buFont typeface="Arial" panose="020B0604020202020204" pitchFamily="34" charset="0"/>
              <a:buChar char="•"/>
              <a:defRPr/>
            </a:pPr>
            <a:r>
              <a:rPr lang="en-US" dirty="0">
                <a:solidFill>
                  <a:srgbClr val="FFFFFF"/>
                </a:solidFill>
                <a:latin typeface="Segoe UI Semilight"/>
              </a:rPr>
              <a:t>Web front end across 3 AZs</a:t>
            </a:r>
          </a:p>
          <a:p>
            <a:pPr marL="342866" indent="-342866" defTabSz="932649">
              <a:lnSpc>
                <a:spcPct val="90000"/>
              </a:lnSpc>
              <a:spcAft>
                <a:spcPts val="600"/>
              </a:spcAft>
              <a:buFont typeface="Arial" panose="020B0604020202020204" pitchFamily="34" charset="0"/>
              <a:buChar char="•"/>
              <a:defRPr/>
            </a:pPr>
            <a:r>
              <a:rPr lang="en-US" dirty="0">
                <a:solidFill>
                  <a:srgbClr val="FFFFFF"/>
                </a:solidFill>
                <a:latin typeface="Segoe UI Semilight"/>
              </a:rPr>
              <a:t>VIP/Load balancer per AZ</a:t>
            </a:r>
          </a:p>
          <a:p>
            <a:pPr marL="342866" indent="-342866" defTabSz="932649">
              <a:lnSpc>
                <a:spcPct val="90000"/>
              </a:lnSpc>
              <a:spcAft>
                <a:spcPts val="600"/>
              </a:spcAft>
              <a:buFont typeface="Arial" panose="020B0604020202020204" pitchFamily="34" charset="0"/>
              <a:buChar char="•"/>
              <a:defRPr/>
            </a:pPr>
            <a:r>
              <a:rPr lang="en-US" dirty="0">
                <a:solidFill>
                  <a:srgbClr val="FFFFFF"/>
                </a:solidFill>
                <a:latin typeface="Segoe UI Semilight"/>
              </a:rPr>
              <a:t>Traffic Load balanced across VIPs using Traffic Manager</a:t>
            </a:r>
          </a:p>
          <a:p>
            <a:pPr marL="342866" indent="-342866" defTabSz="932649">
              <a:lnSpc>
                <a:spcPct val="90000"/>
              </a:lnSpc>
              <a:spcAft>
                <a:spcPts val="600"/>
              </a:spcAft>
              <a:buFont typeface="Arial" panose="020B0604020202020204" pitchFamily="34" charset="0"/>
              <a:buChar char="•"/>
              <a:defRPr/>
            </a:pPr>
            <a:r>
              <a:rPr lang="en-US" dirty="0">
                <a:solidFill>
                  <a:srgbClr val="FFFFFF"/>
                </a:solidFill>
                <a:latin typeface="Segoe UI Semilight"/>
              </a:rPr>
              <a:t>Data layer redundant across 3 AZs</a:t>
            </a:r>
          </a:p>
          <a:p>
            <a:pPr marL="809190" lvl="1" indent="-342866" defTabSz="932649">
              <a:lnSpc>
                <a:spcPct val="90000"/>
              </a:lnSpc>
              <a:spcAft>
                <a:spcPts val="600"/>
              </a:spcAft>
              <a:buFont typeface="Arial" panose="020B0604020202020204" pitchFamily="34" charset="0"/>
              <a:buChar char="•"/>
              <a:defRPr/>
            </a:pPr>
            <a:r>
              <a:rPr lang="en-US" dirty="0">
                <a:solidFill>
                  <a:srgbClr val="FFFFFF"/>
                </a:solidFill>
                <a:latin typeface="Segoe UI Semilight"/>
              </a:rPr>
              <a:t>SQL on IaaS</a:t>
            </a:r>
          </a:p>
          <a:p>
            <a:pPr marL="809190" lvl="1" indent="-342866" defTabSz="932649">
              <a:lnSpc>
                <a:spcPct val="90000"/>
              </a:lnSpc>
              <a:spcAft>
                <a:spcPts val="600"/>
              </a:spcAft>
              <a:buFont typeface="Arial" panose="020B0604020202020204" pitchFamily="34" charset="0"/>
              <a:buChar char="•"/>
              <a:defRPr/>
            </a:pPr>
            <a:r>
              <a:rPr lang="en-US" dirty="0">
                <a:solidFill>
                  <a:srgbClr val="FFFFFF"/>
                </a:solidFill>
                <a:latin typeface="Segoe UI Semilight"/>
              </a:rPr>
              <a:t>SQL Azure or </a:t>
            </a:r>
            <a:r>
              <a:rPr lang="en-US" dirty="0" err="1">
                <a:solidFill>
                  <a:srgbClr val="FFFFFF"/>
                </a:solidFill>
                <a:latin typeface="Segoe UI Semilight"/>
              </a:rPr>
              <a:t>CosmosDb</a:t>
            </a:r>
            <a:endParaRPr lang="en-US" dirty="0">
              <a:solidFill>
                <a:srgbClr val="FFFFFF"/>
              </a:solidFill>
              <a:latin typeface="Segoe UI Semilight"/>
            </a:endParaRPr>
          </a:p>
          <a:p>
            <a:pPr marL="809190" lvl="1" indent="-342866" defTabSz="932649">
              <a:lnSpc>
                <a:spcPct val="90000"/>
              </a:lnSpc>
              <a:spcAft>
                <a:spcPts val="600"/>
              </a:spcAft>
              <a:buFont typeface="Arial" panose="020B0604020202020204" pitchFamily="34" charset="0"/>
              <a:buChar char="•"/>
              <a:defRPr/>
            </a:pPr>
            <a:r>
              <a:rPr lang="en-US" dirty="0">
                <a:solidFill>
                  <a:srgbClr val="FFFFFF"/>
                </a:solidFill>
                <a:latin typeface="Segoe UI Semilight"/>
              </a:rPr>
              <a:t>NoSQL (Cassandra, </a:t>
            </a:r>
            <a:r>
              <a:rPr lang="en-US" dirty="0" err="1">
                <a:solidFill>
                  <a:srgbClr val="FFFFFF"/>
                </a:solidFill>
                <a:latin typeface="Segoe UI Semilight"/>
              </a:rPr>
              <a:t>MongoDb</a:t>
            </a:r>
            <a:r>
              <a:rPr lang="en-US" dirty="0">
                <a:solidFill>
                  <a:srgbClr val="FFFFFF"/>
                </a:solidFill>
                <a:latin typeface="Segoe UI Semilight"/>
              </a:rPr>
              <a:t>)</a:t>
            </a:r>
          </a:p>
        </p:txBody>
      </p:sp>
      <p:cxnSp>
        <p:nvCxnSpPr>
          <p:cNvPr id="201" name="Straight Arrow Connector 200">
            <a:extLst>
              <a:ext uri="{FF2B5EF4-FFF2-40B4-BE49-F238E27FC236}">
                <a16:creationId xmlns:a16="http://schemas.microsoft.com/office/drawing/2014/main" id="{FBE296B5-27C9-4D8C-A1A7-FC4F98B7C210}"/>
              </a:ext>
            </a:extLst>
          </p:cNvPr>
          <p:cNvCxnSpPr/>
          <p:nvPr/>
        </p:nvCxnSpPr>
        <p:spPr>
          <a:xfrm flipH="1">
            <a:off x="2605891" y="5400450"/>
            <a:ext cx="234225"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FB11B31E-798F-4340-8803-814D8C595E0B}"/>
              </a:ext>
            </a:extLst>
          </p:cNvPr>
          <p:cNvCxnSpPr>
            <a:cxnSpLocks/>
          </p:cNvCxnSpPr>
          <p:nvPr/>
        </p:nvCxnSpPr>
        <p:spPr>
          <a:xfrm>
            <a:off x="2027120" y="5400450"/>
            <a:ext cx="1338221" cy="0"/>
          </a:xfrm>
          <a:prstGeom prst="straightConnector1">
            <a:avLst/>
          </a:prstGeom>
          <a:ln>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3" name="Straight Arrow Connector 202">
            <a:extLst>
              <a:ext uri="{FF2B5EF4-FFF2-40B4-BE49-F238E27FC236}">
                <a16:creationId xmlns:a16="http://schemas.microsoft.com/office/drawing/2014/main" id="{12E88197-CB25-4E46-B60C-5F06C62237D2}"/>
              </a:ext>
            </a:extLst>
          </p:cNvPr>
          <p:cNvCxnSpPr>
            <a:cxnSpLocks/>
          </p:cNvCxnSpPr>
          <p:nvPr/>
        </p:nvCxnSpPr>
        <p:spPr>
          <a:xfrm>
            <a:off x="4506250" y="5418845"/>
            <a:ext cx="1338221" cy="0"/>
          </a:xfrm>
          <a:prstGeom prst="straightConnector1">
            <a:avLst/>
          </a:prstGeom>
          <a:ln>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501565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78A33955-94D0-4990-98F6-E5EE01314813}"/>
              </a:ext>
            </a:extLst>
          </p:cNvPr>
          <p:cNvSpPr/>
          <p:nvPr/>
        </p:nvSpPr>
        <p:spPr bwMode="auto">
          <a:xfrm>
            <a:off x="11760" y="1435364"/>
            <a:ext cx="12423128" cy="55492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Freeform 5"/>
          <p:cNvSpPr>
            <a:spLocks noEditPoints="1"/>
          </p:cNvSpPr>
          <p:nvPr/>
        </p:nvSpPr>
        <p:spPr bwMode="auto">
          <a:xfrm>
            <a:off x="1054568" y="3537174"/>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79" name="Freeform 5"/>
          <p:cNvSpPr>
            <a:spLocks noEditPoints="1"/>
          </p:cNvSpPr>
          <p:nvPr/>
        </p:nvSpPr>
        <p:spPr bwMode="auto">
          <a:xfrm>
            <a:off x="978290" y="3579566"/>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39" name="Rectangle: Rounded Corners 38"/>
          <p:cNvSpPr/>
          <p:nvPr/>
        </p:nvSpPr>
        <p:spPr bwMode="auto">
          <a:xfrm>
            <a:off x="602991" y="2844884"/>
            <a:ext cx="2002899" cy="3905203"/>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0" numCol="1" spcCol="0" rtlCol="0" fromWordArt="0" anchor="b"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ln>
                <a:solidFill>
                  <a:srgbClr val="FFFFFF"/>
                </a:solidFill>
              </a:ln>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r>
              <a:rPr lang="en-US" sz="1224" b="1" dirty="0">
                <a:ln>
                  <a:solidFill>
                    <a:srgbClr val="FFFFFF"/>
                  </a:solidFill>
                </a:ln>
                <a:solidFill>
                  <a:srgbClr val="FFFFFF"/>
                </a:solidFill>
                <a:latin typeface="Segoe UI Semilight"/>
                <a:ea typeface="Segoe UI" pitchFamily="34" charset="0"/>
                <a:cs typeface="Segoe UI" pitchFamily="34" charset="0"/>
              </a:rPr>
              <a:t>Availability Zone 1</a:t>
            </a:r>
          </a:p>
        </p:txBody>
      </p:sp>
      <p:sp>
        <p:nvSpPr>
          <p:cNvPr id="44" name="TextBox 15"/>
          <p:cNvSpPr txBox="1">
            <a:spLocks noChangeArrowheads="1"/>
          </p:cNvSpPr>
          <p:nvPr/>
        </p:nvSpPr>
        <p:spPr bwMode="auto">
          <a:xfrm>
            <a:off x="4286429" y="1654084"/>
            <a:ext cx="1800213" cy="531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32504">
              <a:lnSpc>
                <a:spcPct val="100000"/>
              </a:lnSpc>
              <a:spcBef>
                <a:spcPct val="0"/>
              </a:spcBef>
              <a:buNone/>
              <a:defRPr/>
            </a:pPr>
            <a:r>
              <a:rPr lang="en-US" altLang="en-US" sz="1428" b="1" dirty="0">
                <a:solidFill>
                  <a:srgbClr val="FFFFFF"/>
                </a:solidFill>
                <a:latin typeface="Segoe UI" panose="020B0502040204020203" pitchFamily="34" charset="0"/>
                <a:cs typeface="Segoe UI" panose="020B0502040204020203" pitchFamily="34" charset="0"/>
              </a:rPr>
              <a:t>Zone redundant Load Balancer</a:t>
            </a:r>
          </a:p>
        </p:txBody>
      </p:sp>
      <p:grpSp>
        <p:nvGrpSpPr>
          <p:cNvPr id="59" name="Group 4"/>
          <p:cNvGrpSpPr>
            <a:grpSpLocks noChangeAspect="1"/>
          </p:cNvGrpSpPr>
          <p:nvPr/>
        </p:nvGrpSpPr>
        <p:grpSpPr bwMode="auto">
          <a:xfrm>
            <a:off x="909513" y="3619300"/>
            <a:ext cx="972553" cy="892716"/>
            <a:chOff x="2299" y="1462"/>
            <a:chExt cx="268" cy="246"/>
          </a:xfrm>
          <a:solidFill>
            <a:schemeClr val="bg1"/>
          </a:solidFill>
        </p:grpSpPr>
        <p:sp>
          <p:nvSpPr>
            <p:cNvPr id="60" name="Freeform 5"/>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61" name="Freeform 6"/>
            <p:cNvSpPr>
              <a:spLocks/>
            </p:cNvSpPr>
            <p:nvPr/>
          </p:nvSpPr>
          <p:spPr bwMode="auto">
            <a:xfrm>
              <a:off x="2417" y="1499"/>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63" name="Freeform 7"/>
            <p:cNvSpPr>
              <a:spLocks/>
            </p:cNvSpPr>
            <p:nvPr/>
          </p:nvSpPr>
          <p:spPr bwMode="auto">
            <a:xfrm>
              <a:off x="2463" y="1531"/>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64" name="Freeform 8"/>
            <p:cNvSpPr>
              <a:spLocks/>
            </p:cNvSpPr>
            <p:nvPr/>
          </p:nvSpPr>
          <p:spPr bwMode="auto">
            <a:xfrm>
              <a:off x="2413" y="1531"/>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grpSp>
        <p:nvGrpSpPr>
          <p:cNvPr id="66" name="Group 4"/>
          <p:cNvGrpSpPr>
            <a:grpSpLocks noChangeAspect="1"/>
          </p:cNvGrpSpPr>
          <p:nvPr/>
        </p:nvGrpSpPr>
        <p:grpSpPr bwMode="auto">
          <a:xfrm>
            <a:off x="950148" y="5158870"/>
            <a:ext cx="972553" cy="892716"/>
            <a:chOff x="2299" y="1462"/>
            <a:chExt cx="268" cy="246"/>
          </a:xfrm>
          <a:solidFill>
            <a:schemeClr val="bg1"/>
          </a:solidFill>
        </p:grpSpPr>
        <p:sp>
          <p:nvSpPr>
            <p:cNvPr id="67" name="Freeform 5"/>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68" name="Freeform 6"/>
            <p:cNvSpPr>
              <a:spLocks/>
            </p:cNvSpPr>
            <p:nvPr/>
          </p:nvSpPr>
          <p:spPr bwMode="auto">
            <a:xfrm>
              <a:off x="2389" y="1507"/>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69" name="Freeform 7"/>
            <p:cNvSpPr>
              <a:spLocks/>
            </p:cNvSpPr>
            <p:nvPr/>
          </p:nvSpPr>
          <p:spPr bwMode="auto">
            <a:xfrm>
              <a:off x="2435" y="1539"/>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70" name="Freeform 8"/>
            <p:cNvSpPr>
              <a:spLocks/>
            </p:cNvSpPr>
            <p:nvPr/>
          </p:nvSpPr>
          <p:spPr bwMode="auto">
            <a:xfrm>
              <a:off x="2385" y="1539"/>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grpSp>
        <p:nvGrpSpPr>
          <p:cNvPr id="71" name="Group 11"/>
          <p:cNvGrpSpPr>
            <a:grpSpLocks noChangeAspect="1"/>
          </p:cNvGrpSpPr>
          <p:nvPr/>
        </p:nvGrpSpPr>
        <p:grpSpPr bwMode="auto">
          <a:xfrm>
            <a:off x="2095496" y="5614788"/>
            <a:ext cx="458148" cy="475955"/>
            <a:chOff x="4743" y="1874"/>
            <a:chExt cx="283" cy="294"/>
          </a:xfrm>
          <a:solidFill>
            <a:schemeClr val="bg1"/>
          </a:solidFill>
        </p:grpSpPr>
        <p:sp>
          <p:nvSpPr>
            <p:cNvPr id="72" name="Freeform 12"/>
            <p:cNvSpPr>
              <a:spLocks/>
            </p:cNvSpPr>
            <p:nvPr/>
          </p:nvSpPr>
          <p:spPr bwMode="auto">
            <a:xfrm>
              <a:off x="4833" y="2000"/>
              <a:ext cx="19" cy="27"/>
            </a:xfrm>
            <a:custGeom>
              <a:avLst/>
              <a:gdLst>
                <a:gd name="T0" fmla="*/ 7 w 49"/>
                <a:gd name="T1" fmla="*/ 62 h 70"/>
                <a:gd name="T2" fmla="*/ 15 w 49"/>
                <a:gd name="T3" fmla="*/ 68 h 70"/>
                <a:gd name="T4" fmla="*/ 25 w 49"/>
                <a:gd name="T5" fmla="*/ 70 h 70"/>
                <a:gd name="T6" fmla="*/ 34 w 49"/>
                <a:gd name="T7" fmla="*/ 68 h 70"/>
                <a:gd name="T8" fmla="*/ 42 w 49"/>
                <a:gd name="T9" fmla="*/ 62 h 70"/>
                <a:gd name="T10" fmla="*/ 47 w 49"/>
                <a:gd name="T11" fmla="*/ 51 h 70"/>
                <a:gd name="T12" fmla="*/ 49 w 49"/>
                <a:gd name="T13" fmla="*/ 36 h 70"/>
                <a:gd name="T14" fmla="*/ 48 w 49"/>
                <a:gd name="T15" fmla="*/ 22 h 70"/>
                <a:gd name="T16" fmla="*/ 43 w 49"/>
                <a:gd name="T17" fmla="*/ 11 h 70"/>
                <a:gd name="T18" fmla="*/ 36 w 49"/>
                <a:gd name="T19" fmla="*/ 3 h 70"/>
                <a:gd name="T20" fmla="*/ 25 w 49"/>
                <a:gd name="T21" fmla="*/ 0 h 70"/>
                <a:gd name="T22" fmla="*/ 14 w 49"/>
                <a:gd name="T23" fmla="*/ 3 h 70"/>
                <a:gd name="T24" fmla="*/ 6 w 49"/>
                <a:gd name="T25" fmla="*/ 11 h 70"/>
                <a:gd name="T26" fmla="*/ 1 w 49"/>
                <a:gd name="T27" fmla="*/ 22 h 70"/>
                <a:gd name="T28" fmla="*/ 0 w 49"/>
                <a:gd name="T29" fmla="*/ 35 h 70"/>
                <a:gd name="T30" fmla="*/ 2 w 49"/>
                <a:gd name="T31" fmla="*/ 51 h 70"/>
                <a:gd name="T32" fmla="*/ 7 w 49"/>
                <a:gd name="T33"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70">
                  <a:moveTo>
                    <a:pt x="7" y="62"/>
                  </a:moveTo>
                  <a:cubicBezTo>
                    <a:pt x="9" y="65"/>
                    <a:pt x="12" y="67"/>
                    <a:pt x="15" y="68"/>
                  </a:cubicBezTo>
                  <a:cubicBezTo>
                    <a:pt x="18" y="70"/>
                    <a:pt x="21" y="70"/>
                    <a:pt x="25" y="70"/>
                  </a:cubicBezTo>
                  <a:cubicBezTo>
                    <a:pt x="28" y="70"/>
                    <a:pt x="31" y="70"/>
                    <a:pt x="34" y="68"/>
                  </a:cubicBezTo>
                  <a:cubicBezTo>
                    <a:pt x="37" y="67"/>
                    <a:pt x="39" y="65"/>
                    <a:pt x="42" y="62"/>
                  </a:cubicBezTo>
                  <a:cubicBezTo>
                    <a:pt x="44" y="59"/>
                    <a:pt x="46" y="56"/>
                    <a:pt x="47" y="51"/>
                  </a:cubicBezTo>
                  <a:cubicBezTo>
                    <a:pt x="48" y="47"/>
                    <a:pt x="49" y="42"/>
                    <a:pt x="49" y="36"/>
                  </a:cubicBezTo>
                  <a:cubicBezTo>
                    <a:pt x="49" y="31"/>
                    <a:pt x="49" y="27"/>
                    <a:pt x="48" y="22"/>
                  </a:cubicBezTo>
                  <a:cubicBezTo>
                    <a:pt x="47" y="18"/>
                    <a:pt x="45" y="14"/>
                    <a:pt x="43" y="11"/>
                  </a:cubicBezTo>
                  <a:cubicBezTo>
                    <a:pt x="42" y="8"/>
                    <a:pt x="39" y="5"/>
                    <a:pt x="36" y="3"/>
                  </a:cubicBezTo>
                  <a:cubicBezTo>
                    <a:pt x="33" y="1"/>
                    <a:pt x="29" y="0"/>
                    <a:pt x="25" y="0"/>
                  </a:cubicBezTo>
                  <a:cubicBezTo>
                    <a:pt x="21" y="0"/>
                    <a:pt x="17" y="1"/>
                    <a:pt x="14" y="3"/>
                  </a:cubicBezTo>
                  <a:cubicBezTo>
                    <a:pt x="10" y="5"/>
                    <a:pt x="8" y="7"/>
                    <a:pt x="6" y="11"/>
                  </a:cubicBezTo>
                  <a:cubicBezTo>
                    <a:pt x="4" y="14"/>
                    <a:pt x="2" y="18"/>
                    <a:pt x="1" y="22"/>
                  </a:cubicBezTo>
                  <a:cubicBezTo>
                    <a:pt x="0" y="26"/>
                    <a:pt x="0" y="31"/>
                    <a:pt x="0" y="35"/>
                  </a:cubicBezTo>
                  <a:cubicBezTo>
                    <a:pt x="0" y="42"/>
                    <a:pt x="0" y="47"/>
                    <a:pt x="2" y="51"/>
                  </a:cubicBezTo>
                  <a:cubicBezTo>
                    <a:pt x="3" y="56"/>
                    <a:pt x="5" y="59"/>
                    <a:pt x="7" y="62"/>
                  </a:cubicBezTo>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73" name="Freeform 13"/>
            <p:cNvSpPr>
              <a:spLocks noEditPoints="1"/>
            </p:cNvSpPr>
            <p:nvPr/>
          </p:nvSpPr>
          <p:spPr bwMode="auto">
            <a:xfrm>
              <a:off x="4743" y="1874"/>
              <a:ext cx="197" cy="260"/>
            </a:xfrm>
            <a:custGeom>
              <a:avLst/>
              <a:gdLst>
                <a:gd name="T0" fmla="*/ 354 w 502"/>
                <a:gd name="T1" fmla="*/ 522 h 667"/>
                <a:gd name="T2" fmla="*/ 502 w 502"/>
                <a:gd name="T3" fmla="*/ 102 h 667"/>
                <a:gd name="T4" fmla="*/ 0 w 502"/>
                <a:gd name="T5" fmla="*/ 100 h 667"/>
                <a:gd name="T6" fmla="*/ 212 w 502"/>
                <a:gd name="T7" fmla="*/ 667 h 667"/>
                <a:gd name="T8" fmla="*/ 337 w 502"/>
                <a:gd name="T9" fmla="*/ 521 h 667"/>
                <a:gd name="T10" fmla="*/ 340 w 502"/>
                <a:gd name="T11" fmla="*/ 424 h 667"/>
                <a:gd name="T12" fmla="*/ 381 w 502"/>
                <a:gd name="T13" fmla="*/ 290 h 667"/>
                <a:gd name="T14" fmla="*/ 427 w 502"/>
                <a:gd name="T15" fmla="*/ 393 h 667"/>
                <a:gd name="T16" fmla="*/ 427 w 502"/>
                <a:gd name="T17" fmla="*/ 424 h 667"/>
                <a:gd name="T18" fmla="*/ 429 w 502"/>
                <a:gd name="T19" fmla="*/ 91 h 667"/>
                <a:gd name="T20" fmla="*/ 72 w 502"/>
                <a:gd name="T21" fmla="*/ 91 h 667"/>
                <a:gd name="T22" fmla="*/ 176 w 502"/>
                <a:gd name="T23" fmla="*/ 393 h 667"/>
                <a:gd name="T24" fmla="*/ 165 w 502"/>
                <a:gd name="T25" fmla="*/ 412 h 667"/>
                <a:gd name="T26" fmla="*/ 139 w 502"/>
                <a:gd name="T27" fmla="*/ 425 h 667"/>
                <a:gd name="T28" fmla="*/ 106 w 502"/>
                <a:gd name="T29" fmla="*/ 426 h 667"/>
                <a:gd name="T30" fmla="*/ 87 w 502"/>
                <a:gd name="T31" fmla="*/ 422 h 667"/>
                <a:gd name="T32" fmla="*/ 80 w 502"/>
                <a:gd name="T33" fmla="*/ 383 h 667"/>
                <a:gd name="T34" fmla="*/ 97 w 502"/>
                <a:gd name="T35" fmla="*/ 392 h 667"/>
                <a:gd name="T36" fmla="*/ 117 w 502"/>
                <a:gd name="T37" fmla="*/ 397 h 667"/>
                <a:gd name="T38" fmla="*/ 129 w 502"/>
                <a:gd name="T39" fmla="*/ 393 h 667"/>
                <a:gd name="T40" fmla="*/ 131 w 502"/>
                <a:gd name="T41" fmla="*/ 387 h 667"/>
                <a:gd name="T42" fmla="*/ 126 w 502"/>
                <a:gd name="T43" fmla="*/ 378 h 667"/>
                <a:gd name="T44" fmla="*/ 110 w 502"/>
                <a:gd name="T45" fmla="*/ 371 h 667"/>
                <a:gd name="T46" fmla="*/ 85 w 502"/>
                <a:gd name="T47" fmla="*/ 354 h 667"/>
                <a:gd name="T48" fmla="*/ 78 w 502"/>
                <a:gd name="T49" fmla="*/ 331 h 667"/>
                <a:gd name="T50" fmla="*/ 93 w 502"/>
                <a:gd name="T51" fmla="*/ 299 h 667"/>
                <a:gd name="T52" fmla="*/ 132 w 502"/>
                <a:gd name="T53" fmla="*/ 288 h 667"/>
                <a:gd name="T54" fmla="*/ 155 w 502"/>
                <a:gd name="T55" fmla="*/ 290 h 667"/>
                <a:gd name="T56" fmla="*/ 170 w 502"/>
                <a:gd name="T57" fmla="*/ 293 h 667"/>
                <a:gd name="T58" fmla="*/ 163 w 502"/>
                <a:gd name="T59" fmla="*/ 324 h 667"/>
                <a:gd name="T60" fmla="*/ 146 w 502"/>
                <a:gd name="T61" fmla="*/ 319 h 667"/>
                <a:gd name="T62" fmla="*/ 125 w 502"/>
                <a:gd name="T63" fmla="*/ 320 h 667"/>
                <a:gd name="T64" fmla="*/ 122 w 502"/>
                <a:gd name="T65" fmla="*/ 331 h 667"/>
                <a:gd name="T66" fmla="*/ 130 w 502"/>
                <a:gd name="T67" fmla="*/ 338 h 667"/>
                <a:gd name="T68" fmla="*/ 154 w 502"/>
                <a:gd name="T69" fmla="*/ 349 h 667"/>
                <a:gd name="T70" fmla="*/ 174 w 502"/>
                <a:gd name="T71" fmla="*/ 369 h 667"/>
                <a:gd name="T72" fmla="*/ 176 w 502"/>
                <a:gd name="T73" fmla="*/ 393 h 667"/>
                <a:gd name="T74" fmla="*/ 186 w 502"/>
                <a:gd name="T75" fmla="*/ 359 h 667"/>
                <a:gd name="T76" fmla="*/ 205 w 502"/>
                <a:gd name="T77" fmla="*/ 308 h 667"/>
                <a:gd name="T78" fmla="*/ 255 w 502"/>
                <a:gd name="T79" fmla="*/ 288 h 667"/>
                <a:gd name="T80" fmla="*/ 302 w 502"/>
                <a:gd name="T81" fmla="*/ 307 h 667"/>
                <a:gd name="T82" fmla="*/ 321 w 502"/>
                <a:gd name="T83" fmla="*/ 357 h 667"/>
                <a:gd name="T84" fmla="*/ 310 w 502"/>
                <a:gd name="T85" fmla="*/ 396 h 667"/>
                <a:gd name="T86" fmla="*/ 284 w 502"/>
                <a:gd name="T87" fmla="*/ 420 h 667"/>
                <a:gd name="T88" fmla="*/ 278 w 502"/>
                <a:gd name="T89" fmla="*/ 459 h 667"/>
                <a:gd name="T90" fmla="*/ 224 w 502"/>
                <a:gd name="T91" fmla="*/ 421 h 667"/>
                <a:gd name="T92" fmla="*/ 191 w 502"/>
                <a:gd name="T93" fmla="*/ 38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2" h="667">
                  <a:moveTo>
                    <a:pt x="337" y="521"/>
                  </a:moveTo>
                  <a:cubicBezTo>
                    <a:pt x="343" y="521"/>
                    <a:pt x="348" y="521"/>
                    <a:pt x="354" y="522"/>
                  </a:cubicBezTo>
                  <a:cubicBezTo>
                    <a:pt x="382" y="466"/>
                    <a:pt x="438" y="430"/>
                    <a:pt x="502" y="427"/>
                  </a:cubicBezTo>
                  <a:lnTo>
                    <a:pt x="502" y="102"/>
                  </a:lnTo>
                  <a:cubicBezTo>
                    <a:pt x="502" y="50"/>
                    <a:pt x="389" y="0"/>
                    <a:pt x="251" y="0"/>
                  </a:cubicBezTo>
                  <a:cubicBezTo>
                    <a:pt x="113" y="0"/>
                    <a:pt x="0" y="48"/>
                    <a:pt x="0" y="100"/>
                  </a:cubicBezTo>
                  <a:lnTo>
                    <a:pt x="0" y="568"/>
                  </a:lnTo>
                  <a:cubicBezTo>
                    <a:pt x="0" y="615"/>
                    <a:pt x="92" y="659"/>
                    <a:pt x="212" y="667"/>
                  </a:cubicBezTo>
                  <a:cubicBezTo>
                    <a:pt x="211" y="661"/>
                    <a:pt x="211" y="654"/>
                    <a:pt x="211" y="647"/>
                  </a:cubicBezTo>
                  <a:cubicBezTo>
                    <a:pt x="211" y="578"/>
                    <a:pt x="267" y="521"/>
                    <a:pt x="337" y="521"/>
                  </a:cubicBezTo>
                  <a:close/>
                  <a:moveTo>
                    <a:pt x="427" y="424"/>
                  </a:moveTo>
                  <a:lnTo>
                    <a:pt x="340" y="424"/>
                  </a:lnTo>
                  <a:lnTo>
                    <a:pt x="340" y="290"/>
                  </a:lnTo>
                  <a:lnTo>
                    <a:pt x="381" y="290"/>
                  </a:lnTo>
                  <a:lnTo>
                    <a:pt x="381" y="393"/>
                  </a:lnTo>
                  <a:lnTo>
                    <a:pt x="427" y="393"/>
                  </a:lnTo>
                  <a:lnTo>
                    <a:pt x="427" y="424"/>
                  </a:lnTo>
                  <a:lnTo>
                    <a:pt x="427" y="424"/>
                  </a:lnTo>
                  <a:close/>
                  <a:moveTo>
                    <a:pt x="251" y="36"/>
                  </a:moveTo>
                  <a:cubicBezTo>
                    <a:pt x="349" y="36"/>
                    <a:pt x="429" y="61"/>
                    <a:pt x="429" y="91"/>
                  </a:cubicBezTo>
                  <a:cubicBezTo>
                    <a:pt x="429" y="121"/>
                    <a:pt x="349" y="146"/>
                    <a:pt x="251" y="146"/>
                  </a:cubicBezTo>
                  <a:cubicBezTo>
                    <a:pt x="152" y="146"/>
                    <a:pt x="72" y="121"/>
                    <a:pt x="72" y="91"/>
                  </a:cubicBezTo>
                  <a:cubicBezTo>
                    <a:pt x="72" y="61"/>
                    <a:pt x="152" y="36"/>
                    <a:pt x="251" y="36"/>
                  </a:cubicBezTo>
                  <a:close/>
                  <a:moveTo>
                    <a:pt x="176" y="393"/>
                  </a:moveTo>
                  <a:cubicBezTo>
                    <a:pt x="175" y="397"/>
                    <a:pt x="174" y="400"/>
                    <a:pt x="172" y="403"/>
                  </a:cubicBezTo>
                  <a:cubicBezTo>
                    <a:pt x="170" y="406"/>
                    <a:pt x="168" y="409"/>
                    <a:pt x="165" y="412"/>
                  </a:cubicBezTo>
                  <a:cubicBezTo>
                    <a:pt x="162" y="415"/>
                    <a:pt x="159" y="418"/>
                    <a:pt x="154" y="420"/>
                  </a:cubicBezTo>
                  <a:cubicBezTo>
                    <a:pt x="150" y="422"/>
                    <a:pt x="145" y="424"/>
                    <a:pt x="139" y="425"/>
                  </a:cubicBezTo>
                  <a:cubicBezTo>
                    <a:pt x="133" y="426"/>
                    <a:pt x="126" y="427"/>
                    <a:pt x="118" y="427"/>
                  </a:cubicBezTo>
                  <a:cubicBezTo>
                    <a:pt x="114" y="427"/>
                    <a:pt x="110" y="427"/>
                    <a:pt x="106" y="426"/>
                  </a:cubicBezTo>
                  <a:cubicBezTo>
                    <a:pt x="103" y="426"/>
                    <a:pt x="99" y="425"/>
                    <a:pt x="96" y="424"/>
                  </a:cubicBezTo>
                  <a:cubicBezTo>
                    <a:pt x="93" y="424"/>
                    <a:pt x="90" y="423"/>
                    <a:pt x="87" y="422"/>
                  </a:cubicBezTo>
                  <a:cubicBezTo>
                    <a:pt x="84" y="421"/>
                    <a:pt x="82" y="420"/>
                    <a:pt x="80" y="420"/>
                  </a:cubicBezTo>
                  <a:lnTo>
                    <a:pt x="80" y="383"/>
                  </a:lnTo>
                  <a:cubicBezTo>
                    <a:pt x="82" y="384"/>
                    <a:pt x="85" y="386"/>
                    <a:pt x="88" y="388"/>
                  </a:cubicBezTo>
                  <a:cubicBezTo>
                    <a:pt x="91" y="389"/>
                    <a:pt x="94" y="391"/>
                    <a:pt x="97" y="392"/>
                  </a:cubicBezTo>
                  <a:cubicBezTo>
                    <a:pt x="100" y="393"/>
                    <a:pt x="104" y="394"/>
                    <a:pt x="107" y="395"/>
                  </a:cubicBezTo>
                  <a:cubicBezTo>
                    <a:pt x="111" y="396"/>
                    <a:pt x="114" y="397"/>
                    <a:pt x="117" y="397"/>
                  </a:cubicBezTo>
                  <a:cubicBezTo>
                    <a:pt x="120" y="397"/>
                    <a:pt x="123" y="396"/>
                    <a:pt x="124" y="396"/>
                  </a:cubicBezTo>
                  <a:cubicBezTo>
                    <a:pt x="126" y="395"/>
                    <a:pt x="128" y="394"/>
                    <a:pt x="129" y="393"/>
                  </a:cubicBezTo>
                  <a:cubicBezTo>
                    <a:pt x="130" y="393"/>
                    <a:pt x="130" y="392"/>
                    <a:pt x="131" y="391"/>
                  </a:cubicBezTo>
                  <a:cubicBezTo>
                    <a:pt x="131" y="389"/>
                    <a:pt x="131" y="388"/>
                    <a:pt x="131" y="387"/>
                  </a:cubicBezTo>
                  <a:cubicBezTo>
                    <a:pt x="131" y="385"/>
                    <a:pt x="131" y="383"/>
                    <a:pt x="130" y="382"/>
                  </a:cubicBezTo>
                  <a:cubicBezTo>
                    <a:pt x="129" y="380"/>
                    <a:pt x="127" y="379"/>
                    <a:pt x="126" y="378"/>
                  </a:cubicBezTo>
                  <a:cubicBezTo>
                    <a:pt x="124" y="377"/>
                    <a:pt x="121" y="375"/>
                    <a:pt x="119" y="374"/>
                  </a:cubicBezTo>
                  <a:cubicBezTo>
                    <a:pt x="116" y="373"/>
                    <a:pt x="113" y="372"/>
                    <a:pt x="110" y="371"/>
                  </a:cubicBezTo>
                  <a:cubicBezTo>
                    <a:pt x="105" y="369"/>
                    <a:pt x="100" y="366"/>
                    <a:pt x="95" y="363"/>
                  </a:cubicBezTo>
                  <a:cubicBezTo>
                    <a:pt x="91" y="360"/>
                    <a:pt x="88" y="357"/>
                    <a:pt x="85" y="354"/>
                  </a:cubicBezTo>
                  <a:cubicBezTo>
                    <a:pt x="83" y="350"/>
                    <a:pt x="81" y="346"/>
                    <a:pt x="80" y="343"/>
                  </a:cubicBezTo>
                  <a:cubicBezTo>
                    <a:pt x="78" y="339"/>
                    <a:pt x="78" y="335"/>
                    <a:pt x="78" y="331"/>
                  </a:cubicBezTo>
                  <a:cubicBezTo>
                    <a:pt x="78" y="324"/>
                    <a:pt x="79" y="318"/>
                    <a:pt x="82" y="313"/>
                  </a:cubicBezTo>
                  <a:cubicBezTo>
                    <a:pt x="84" y="307"/>
                    <a:pt x="88" y="303"/>
                    <a:pt x="93" y="299"/>
                  </a:cubicBezTo>
                  <a:cubicBezTo>
                    <a:pt x="98" y="296"/>
                    <a:pt x="104" y="293"/>
                    <a:pt x="110" y="291"/>
                  </a:cubicBezTo>
                  <a:cubicBezTo>
                    <a:pt x="117" y="289"/>
                    <a:pt x="124" y="288"/>
                    <a:pt x="132" y="288"/>
                  </a:cubicBezTo>
                  <a:cubicBezTo>
                    <a:pt x="137" y="288"/>
                    <a:pt x="141" y="288"/>
                    <a:pt x="145" y="288"/>
                  </a:cubicBezTo>
                  <a:cubicBezTo>
                    <a:pt x="149" y="289"/>
                    <a:pt x="152" y="289"/>
                    <a:pt x="155" y="290"/>
                  </a:cubicBezTo>
                  <a:cubicBezTo>
                    <a:pt x="158" y="290"/>
                    <a:pt x="161" y="291"/>
                    <a:pt x="163" y="291"/>
                  </a:cubicBezTo>
                  <a:cubicBezTo>
                    <a:pt x="166" y="292"/>
                    <a:pt x="168" y="292"/>
                    <a:pt x="170" y="293"/>
                  </a:cubicBezTo>
                  <a:lnTo>
                    <a:pt x="170" y="327"/>
                  </a:lnTo>
                  <a:cubicBezTo>
                    <a:pt x="168" y="326"/>
                    <a:pt x="166" y="325"/>
                    <a:pt x="163" y="324"/>
                  </a:cubicBezTo>
                  <a:cubicBezTo>
                    <a:pt x="161" y="323"/>
                    <a:pt x="158" y="322"/>
                    <a:pt x="155" y="321"/>
                  </a:cubicBezTo>
                  <a:cubicBezTo>
                    <a:pt x="152" y="320"/>
                    <a:pt x="149" y="319"/>
                    <a:pt x="146" y="319"/>
                  </a:cubicBezTo>
                  <a:cubicBezTo>
                    <a:pt x="143" y="318"/>
                    <a:pt x="140" y="318"/>
                    <a:pt x="136" y="318"/>
                  </a:cubicBezTo>
                  <a:cubicBezTo>
                    <a:pt x="132" y="318"/>
                    <a:pt x="128" y="319"/>
                    <a:pt x="125" y="320"/>
                  </a:cubicBezTo>
                  <a:cubicBezTo>
                    <a:pt x="123" y="322"/>
                    <a:pt x="121" y="324"/>
                    <a:pt x="121" y="327"/>
                  </a:cubicBezTo>
                  <a:cubicBezTo>
                    <a:pt x="121" y="329"/>
                    <a:pt x="122" y="330"/>
                    <a:pt x="122" y="331"/>
                  </a:cubicBezTo>
                  <a:cubicBezTo>
                    <a:pt x="123" y="333"/>
                    <a:pt x="124" y="334"/>
                    <a:pt x="125" y="335"/>
                  </a:cubicBezTo>
                  <a:cubicBezTo>
                    <a:pt x="126" y="336"/>
                    <a:pt x="128" y="337"/>
                    <a:pt x="130" y="338"/>
                  </a:cubicBezTo>
                  <a:cubicBezTo>
                    <a:pt x="133" y="339"/>
                    <a:pt x="135" y="340"/>
                    <a:pt x="138" y="341"/>
                  </a:cubicBezTo>
                  <a:cubicBezTo>
                    <a:pt x="144" y="344"/>
                    <a:pt x="149" y="346"/>
                    <a:pt x="154" y="349"/>
                  </a:cubicBezTo>
                  <a:cubicBezTo>
                    <a:pt x="159" y="351"/>
                    <a:pt x="163" y="354"/>
                    <a:pt x="166" y="358"/>
                  </a:cubicBezTo>
                  <a:cubicBezTo>
                    <a:pt x="169" y="361"/>
                    <a:pt x="172" y="365"/>
                    <a:pt x="174" y="369"/>
                  </a:cubicBezTo>
                  <a:cubicBezTo>
                    <a:pt x="176" y="373"/>
                    <a:pt x="177" y="378"/>
                    <a:pt x="177" y="384"/>
                  </a:cubicBezTo>
                  <a:cubicBezTo>
                    <a:pt x="177" y="387"/>
                    <a:pt x="176" y="390"/>
                    <a:pt x="176" y="393"/>
                  </a:cubicBezTo>
                  <a:close/>
                  <a:moveTo>
                    <a:pt x="191" y="386"/>
                  </a:moveTo>
                  <a:cubicBezTo>
                    <a:pt x="187" y="378"/>
                    <a:pt x="186" y="369"/>
                    <a:pt x="186" y="359"/>
                  </a:cubicBezTo>
                  <a:cubicBezTo>
                    <a:pt x="186" y="348"/>
                    <a:pt x="187" y="339"/>
                    <a:pt x="191" y="330"/>
                  </a:cubicBezTo>
                  <a:cubicBezTo>
                    <a:pt x="194" y="321"/>
                    <a:pt x="199" y="314"/>
                    <a:pt x="205" y="308"/>
                  </a:cubicBezTo>
                  <a:cubicBezTo>
                    <a:pt x="211" y="301"/>
                    <a:pt x="218" y="296"/>
                    <a:pt x="227" y="293"/>
                  </a:cubicBezTo>
                  <a:cubicBezTo>
                    <a:pt x="235" y="290"/>
                    <a:pt x="245" y="288"/>
                    <a:pt x="255" y="288"/>
                  </a:cubicBezTo>
                  <a:cubicBezTo>
                    <a:pt x="264" y="288"/>
                    <a:pt x="273" y="289"/>
                    <a:pt x="281" y="293"/>
                  </a:cubicBezTo>
                  <a:cubicBezTo>
                    <a:pt x="289" y="296"/>
                    <a:pt x="296" y="300"/>
                    <a:pt x="302" y="307"/>
                  </a:cubicBezTo>
                  <a:cubicBezTo>
                    <a:pt x="308" y="312"/>
                    <a:pt x="313" y="320"/>
                    <a:pt x="316" y="328"/>
                  </a:cubicBezTo>
                  <a:cubicBezTo>
                    <a:pt x="319" y="337"/>
                    <a:pt x="321" y="346"/>
                    <a:pt x="321" y="357"/>
                  </a:cubicBezTo>
                  <a:cubicBezTo>
                    <a:pt x="321" y="365"/>
                    <a:pt x="320" y="372"/>
                    <a:pt x="318" y="378"/>
                  </a:cubicBezTo>
                  <a:cubicBezTo>
                    <a:pt x="316" y="385"/>
                    <a:pt x="314" y="391"/>
                    <a:pt x="310" y="396"/>
                  </a:cubicBezTo>
                  <a:cubicBezTo>
                    <a:pt x="307" y="402"/>
                    <a:pt x="303" y="406"/>
                    <a:pt x="299" y="410"/>
                  </a:cubicBezTo>
                  <a:cubicBezTo>
                    <a:pt x="294" y="414"/>
                    <a:pt x="289" y="418"/>
                    <a:pt x="284" y="420"/>
                  </a:cubicBezTo>
                  <a:lnTo>
                    <a:pt x="329" y="459"/>
                  </a:lnTo>
                  <a:lnTo>
                    <a:pt x="278" y="459"/>
                  </a:lnTo>
                  <a:lnTo>
                    <a:pt x="248" y="427"/>
                  </a:lnTo>
                  <a:cubicBezTo>
                    <a:pt x="239" y="426"/>
                    <a:pt x="231" y="424"/>
                    <a:pt x="224" y="421"/>
                  </a:cubicBezTo>
                  <a:cubicBezTo>
                    <a:pt x="216" y="418"/>
                    <a:pt x="210" y="413"/>
                    <a:pt x="204" y="407"/>
                  </a:cubicBezTo>
                  <a:cubicBezTo>
                    <a:pt x="198" y="402"/>
                    <a:pt x="194" y="395"/>
                    <a:pt x="191" y="386"/>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74" name="Freeform 14"/>
            <p:cNvSpPr>
              <a:spLocks noEditPoints="1"/>
            </p:cNvSpPr>
            <p:nvPr/>
          </p:nvSpPr>
          <p:spPr bwMode="auto">
            <a:xfrm>
              <a:off x="4833" y="2047"/>
              <a:ext cx="193" cy="121"/>
            </a:xfrm>
            <a:custGeom>
              <a:avLst/>
              <a:gdLst>
                <a:gd name="T0" fmla="*/ 492 w 492"/>
                <a:gd name="T1" fmla="*/ 249 h 312"/>
                <a:gd name="T2" fmla="*/ 433 w 492"/>
                <a:gd name="T3" fmla="*/ 185 h 312"/>
                <a:gd name="T4" fmla="*/ 436 w 492"/>
                <a:gd name="T5" fmla="*/ 155 h 312"/>
                <a:gd name="T6" fmla="*/ 281 w 492"/>
                <a:gd name="T7" fmla="*/ 0 h 312"/>
                <a:gd name="T8" fmla="*/ 136 w 492"/>
                <a:gd name="T9" fmla="*/ 98 h 312"/>
                <a:gd name="T10" fmla="*/ 109 w 492"/>
                <a:gd name="T11" fmla="*/ 94 h 312"/>
                <a:gd name="T12" fmla="*/ 0 w 492"/>
                <a:gd name="T13" fmla="*/ 203 h 312"/>
                <a:gd name="T14" fmla="*/ 107 w 492"/>
                <a:gd name="T15" fmla="*/ 312 h 312"/>
                <a:gd name="T16" fmla="*/ 433 w 492"/>
                <a:gd name="T17" fmla="*/ 312 h 312"/>
                <a:gd name="T18" fmla="*/ 446 w 492"/>
                <a:gd name="T19" fmla="*/ 312 h 312"/>
                <a:gd name="T20" fmla="*/ 445 w 492"/>
                <a:gd name="T21" fmla="*/ 310 h 312"/>
                <a:gd name="T22" fmla="*/ 492 w 492"/>
                <a:gd name="T23" fmla="*/ 249 h 312"/>
                <a:gd name="T24" fmla="*/ 433 w 492"/>
                <a:gd name="T25" fmla="*/ 295 h 312"/>
                <a:gd name="T26" fmla="*/ 109 w 492"/>
                <a:gd name="T27" fmla="*/ 295 h 312"/>
                <a:gd name="T28" fmla="*/ 17 w 492"/>
                <a:gd name="T29" fmla="*/ 203 h 312"/>
                <a:gd name="T30" fmla="*/ 109 w 492"/>
                <a:gd name="T31" fmla="*/ 112 h 312"/>
                <a:gd name="T32" fmla="*/ 139 w 492"/>
                <a:gd name="T33" fmla="*/ 117 h 312"/>
                <a:gd name="T34" fmla="*/ 147 w 492"/>
                <a:gd name="T35" fmla="*/ 120 h 312"/>
                <a:gd name="T36" fmla="*/ 150 w 492"/>
                <a:gd name="T37" fmla="*/ 111 h 312"/>
                <a:gd name="T38" fmla="*/ 281 w 492"/>
                <a:gd name="T39" fmla="*/ 17 h 312"/>
                <a:gd name="T40" fmla="*/ 419 w 492"/>
                <a:gd name="T41" fmla="*/ 155 h 312"/>
                <a:gd name="T42" fmla="*/ 414 w 492"/>
                <a:gd name="T43" fmla="*/ 192 h 312"/>
                <a:gd name="T44" fmla="*/ 410 w 492"/>
                <a:gd name="T45" fmla="*/ 204 h 312"/>
                <a:gd name="T46" fmla="*/ 423 w 492"/>
                <a:gd name="T47" fmla="*/ 203 h 312"/>
                <a:gd name="T48" fmla="*/ 429 w 492"/>
                <a:gd name="T49" fmla="*/ 202 h 312"/>
                <a:gd name="T50" fmla="*/ 475 w 492"/>
                <a:gd name="T51" fmla="*/ 249 h 312"/>
                <a:gd name="T52" fmla="*/ 433 w 492"/>
                <a:gd name="T53" fmla="*/ 29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2" h="312">
                  <a:moveTo>
                    <a:pt x="492" y="249"/>
                  </a:moveTo>
                  <a:cubicBezTo>
                    <a:pt x="492" y="215"/>
                    <a:pt x="466" y="187"/>
                    <a:pt x="433" y="185"/>
                  </a:cubicBezTo>
                  <a:cubicBezTo>
                    <a:pt x="435" y="175"/>
                    <a:pt x="436" y="165"/>
                    <a:pt x="436" y="155"/>
                  </a:cubicBezTo>
                  <a:cubicBezTo>
                    <a:pt x="436" y="70"/>
                    <a:pt x="366" y="0"/>
                    <a:pt x="281" y="0"/>
                  </a:cubicBezTo>
                  <a:cubicBezTo>
                    <a:pt x="217" y="0"/>
                    <a:pt x="160" y="39"/>
                    <a:pt x="136" y="98"/>
                  </a:cubicBezTo>
                  <a:cubicBezTo>
                    <a:pt x="127" y="96"/>
                    <a:pt x="118" y="94"/>
                    <a:pt x="109" y="94"/>
                  </a:cubicBezTo>
                  <a:cubicBezTo>
                    <a:pt x="49" y="94"/>
                    <a:pt x="0" y="143"/>
                    <a:pt x="0" y="203"/>
                  </a:cubicBezTo>
                  <a:cubicBezTo>
                    <a:pt x="0" y="262"/>
                    <a:pt x="47" y="311"/>
                    <a:pt x="107" y="312"/>
                  </a:cubicBezTo>
                  <a:lnTo>
                    <a:pt x="433" y="312"/>
                  </a:lnTo>
                  <a:lnTo>
                    <a:pt x="446" y="312"/>
                  </a:lnTo>
                  <a:lnTo>
                    <a:pt x="445" y="310"/>
                  </a:lnTo>
                  <a:cubicBezTo>
                    <a:pt x="472" y="303"/>
                    <a:pt x="492" y="278"/>
                    <a:pt x="492" y="249"/>
                  </a:cubicBezTo>
                  <a:close/>
                  <a:moveTo>
                    <a:pt x="433" y="295"/>
                  </a:moveTo>
                  <a:lnTo>
                    <a:pt x="109" y="295"/>
                  </a:lnTo>
                  <a:cubicBezTo>
                    <a:pt x="58" y="295"/>
                    <a:pt x="17" y="254"/>
                    <a:pt x="17" y="203"/>
                  </a:cubicBezTo>
                  <a:cubicBezTo>
                    <a:pt x="17" y="153"/>
                    <a:pt x="58" y="112"/>
                    <a:pt x="109" y="112"/>
                  </a:cubicBezTo>
                  <a:cubicBezTo>
                    <a:pt x="119" y="112"/>
                    <a:pt x="129" y="113"/>
                    <a:pt x="139" y="117"/>
                  </a:cubicBezTo>
                  <a:lnTo>
                    <a:pt x="147" y="120"/>
                  </a:lnTo>
                  <a:lnTo>
                    <a:pt x="150" y="111"/>
                  </a:lnTo>
                  <a:cubicBezTo>
                    <a:pt x="169" y="55"/>
                    <a:pt x="221" y="17"/>
                    <a:pt x="281" y="17"/>
                  </a:cubicBezTo>
                  <a:cubicBezTo>
                    <a:pt x="357" y="17"/>
                    <a:pt x="419" y="79"/>
                    <a:pt x="419" y="155"/>
                  </a:cubicBezTo>
                  <a:cubicBezTo>
                    <a:pt x="419" y="167"/>
                    <a:pt x="417" y="180"/>
                    <a:pt x="414" y="192"/>
                  </a:cubicBezTo>
                  <a:lnTo>
                    <a:pt x="410" y="204"/>
                  </a:lnTo>
                  <a:lnTo>
                    <a:pt x="423" y="203"/>
                  </a:lnTo>
                  <a:cubicBezTo>
                    <a:pt x="425" y="202"/>
                    <a:pt x="427" y="202"/>
                    <a:pt x="429" y="202"/>
                  </a:cubicBezTo>
                  <a:cubicBezTo>
                    <a:pt x="454" y="202"/>
                    <a:pt x="475" y="223"/>
                    <a:pt x="475" y="249"/>
                  </a:cubicBezTo>
                  <a:cubicBezTo>
                    <a:pt x="475" y="272"/>
                    <a:pt x="456" y="293"/>
                    <a:pt x="433" y="295"/>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grpSp>
      <p:sp>
        <p:nvSpPr>
          <p:cNvPr id="25" name="TextBox 24"/>
          <p:cNvSpPr txBox="1"/>
          <p:nvPr/>
        </p:nvSpPr>
        <p:spPr>
          <a:xfrm>
            <a:off x="512177" y="3518142"/>
            <a:ext cx="546170" cy="1044094"/>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dirty="0">
                <a:solidFill>
                  <a:srgbClr val="FFFFFF"/>
                </a:solidFill>
                <a:latin typeface="Segoe UI Semilight"/>
              </a:rPr>
              <a:t>Web App</a:t>
            </a:r>
          </a:p>
        </p:txBody>
      </p:sp>
      <p:sp>
        <p:nvSpPr>
          <p:cNvPr id="75" name="TextBox 74"/>
          <p:cNvSpPr txBox="1"/>
          <p:nvPr/>
        </p:nvSpPr>
        <p:spPr>
          <a:xfrm>
            <a:off x="552812" y="5158868"/>
            <a:ext cx="546170" cy="892717"/>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dirty="0">
                <a:solidFill>
                  <a:srgbClr val="FFFFFF"/>
                </a:solidFill>
                <a:latin typeface="Segoe UI Semilight"/>
              </a:rPr>
              <a:t>SQL</a:t>
            </a:r>
          </a:p>
        </p:txBody>
      </p:sp>
      <p:sp>
        <p:nvSpPr>
          <p:cNvPr id="26" name="Rectangle 25"/>
          <p:cNvSpPr/>
          <p:nvPr/>
        </p:nvSpPr>
        <p:spPr bwMode="auto">
          <a:xfrm>
            <a:off x="438095" y="3452498"/>
            <a:ext cx="4724317" cy="1143316"/>
          </a:xfrm>
          <a:prstGeom prst="rect">
            <a:avLst/>
          </a:prstGeom>
          <a:noFill/>
          <a:ln w="25400" cap="rnd" cmpd="sng">
            <a:solidFill>
              <a:schemeClr val="bg1"/>
            </a:solidFill>
            <a:prstDash val="sys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6" name="TextBox 115"/>
          <p:cNvSpPr txBox="1"/>
          <p:nvPr/>
        </p:nvSpPr>
        <p:spPr>
          <a:xfrm>
            <a:off x="5013935" y="3389328"/>
            <a:ext cx="715704" cy="1143316"/>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dirty="0">
                <a:solidFill>
                  <a:srgbClr val="FFFFFF"/>
                </a:solidFill>
                <a:latin typeface="Segoe UI Semilight"/>
              </a:rPr>
              <a:t>Front End Subnet</a:t>
            </a:r>
          </a:p>
        </p:txBody>
      </p:sp>
      <p:sp>
        <p:nvSpPr>
          <p:cNvPr id="117" name="Rectangle 116"/>
          <p:cNvSpPr/>
          <p:nvPr/>
        </p:nvSpPr>
        <p:spPr bwMode="auto">
          <a:xfrm>
            <a:off x="438095" y="5058570"/>
            <a:ext cx="7174584" cy="1088287"/>
          </a:xfrm>
          <a:prstGeom prst="rect">
            <a:avLst/>
          </a:prstGeom>
          <a:noFill/>
          <a:ln w="25400" cap="rnd" cmpd="sng">
            <a:solidFill>
              <a:schemeClr val="bg1"/>
            </a:solidFill>
            <a:prstDash val="sys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Rounded Corners 117"/>
          <p:cNvSpPr/>
          <p:nvPr/>
        </p:nvSpPr>
        <p:spPr bwMode="auto">
          <a:xfrm>
            <a:off x="3206625" y="2844883"/>
            <a:ext cx="1897354" cy="390520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0" numCol="1" spcCol="0" rtlCol="0" fromWordArt="0" anchor="b"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r>
              <a:rPr lang="en-US" sz="1224" b="1">
                <a:solidFill>
                  <a:srgbClr val="FFFFFF"/>
                </a:solidFill>
                <a:latin typeface="Segoe UI Semilight"/>
                <a:ea typeface="Segoe UI" pitchFamily="34" charset="0"/>
                <a:cs typeface="Segoe UI" pitchFamily="34" charset="0"/>
              </a:rPr>
              <a:t>Availability Zone 2</a:t>
            </a:r>
          </a:p>
        </p:txBody>
      </p:sp>
      <p:grpSp>
        <p:nvGrpSpPr>
          <p:cNvPr id="125" name="Group 4"/>
          <p:cNvGrpSpPr>
            <a:grpSpLocks noChangeAspect="1"/>
          </p:cNvGrpSpPr>
          <p:nvPr/>
        </p:nvGrpSpPr>
        <p:grpSpPr bwMode="auto">
          <a:xfrm>
            <a:off x="3470079" y="5121023"/>
            <a:ext cx="972553" cy="892716"/>
            <a:chOff x="2299" y="1462"/>
            <a:chExt cx="268" cy="246"/>
          </a:xfrm>
          <a:solidFill>
            <a:schemeClr val="bg1"/>
          </a:solidFill>
        </p:grpSpPr>
        <p:sp>
          <p:nvSpPr>
            <p:cNvPr id="126" name="Freeform 5"/>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27" name="Freeform 6"/>
            <p:cNvSpPr>
              <a:spLocks/>
            </p:cNvSpPr>
            <p:nvPr/>
          </p:nvSpPr>
          <p:spPr bwMode="auto">
            <a:xfrm>
              <a:off x="2389" y="1507"/>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28" name="Freeform 7"/>
            <p:cNvSpPr>
              <a:spLocks/>
            </p:cNvSpPr>
            <p:nvPr/>
          </p:nvSpPr>
          <p:spPr bwMode="auto">
            <a:xfrm>
              <a:off x="2435" y="1539"/>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29" name="Freeform 8"/>
            <p:cNvSpPr>
              <a:spLocks/>
            </p:cNvSpPr>
            <p:nvPr/>
          </p:nvSpPr>
          <p:spPr bwMode="auto">
            <a:xfrm>
              <a:off x="2385" y="1539"/>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grpSp>
        <p:nvGrpSpPr>
          <p:cNvPr id="130" name="Group 11"/>
          <p:cNvGrpSpPr>
            <a:grpSpLocks noChangeAspect="1"/>
          </p:cNvGrpSpPr>
          <p:nvPr/>
        </p:nvGrpSpPr>
        <p:grpSpPr bwMode="auto">
          <a:xfrm>
            <a:off x="4615427" y="5576941"/>
            <a:ext cx="458148" cy="475955"/>
            <a:chOff x="4743" y="1874"/>
            <a:chExt cx="283" cy="294"/>
          </a:xfrm>
          <a:solidFill>
            <a:schemeClr val="bg1"/>
          </a:solidFill>
        </p:grpSpPr>
        <p:sp>
          <p:nvSpPr>
            <p:cNvPr id="131" name="Freeform 12"/>
            <p:cNvSpPr>
              <a:spLocks/>
            </p:cNvSpPr>
            <p:nvPr/>
          </p:nvSpPr>
          <p:spPr bwMode="auto">
            <a:xfrm>
              <a:off x="4833" y="2000"/>
              <a:ext cx="19" cy="27"/>
            </a:xfrm>
            <a:custGeom>
              <a:avLst/>
              <a:gdLst>
                <a:gd name="T0" fmla="*/ 7 w 49"/>
                <a:gd name="T1" fmla="*/ 62 h 70"/>
                <a:gd name="T2" fmla="*/ 15 w 49"/>
                <a:gd name="T3" fmla="*/ 68 h 70"/>
                <a:gd name="T4" fmla="*/ 25 w 49"/>
                <a:gd name="T5" fmla="*/ 70 h 70"/>
                <a:gd name="T6" fmla="*/ 34 w 49"/>
                <a:gd name="T7" fmla="*/ 68 h 70"/>
                <a:gd name="T8" fmla="*/ 42 w 49"/>
                <a:gd name="T9" fmla="*/ 62 h 70"/>
                <a:gd name="T10" fmla="*/ 47 w 49"/>
                <a:gd name="T11" fmla="*/ 51 h 70"/>
                <a:gd name="T12" fmla="*/ 49 w 49"/>
                <a:gd name="T13" fmla="*/ 36 h 70"/>
                <a:gd name="T14" fmla="*/ 48 w 49"/>
                <a:gd name="T15" fmla="*/ 22 h 70"/>
                <a:gd name="T16" fmla="*/ 43 w 49"/>
                <a:gd name="T17" fmla="*/ 11 h 70"/>
                <a:gd name="T18" fmla="*/ 36 w 49"/>
                <a:gd name="T19" fmla="*/ 3 h 70"/>
                <a:gd name="T20" fmla="*/ 25 w 49"/>
                <a:gd name="T21" fmla="*/ 0 h 70"/>
                <a:gd name="T22" fmla="*/ 14 w 49"/>
                <a:gd name="T23" fmla="*/ 3 h 70"/>
                <a:gd name="T24" fmla="*/ 6 w 49"/>
                <a:gd name="T25" fmla="*/ 11 h 70"/>
                <a:gd name="T26" fmla="*/ 1 w 49"/>
                <a:gd name="T27" fmla="*/ 22 h 70"/>
                <a:gd name="T28" fmla="*/ 0 w 49"/>
                <a:gd name="T29" fmla="*/ 35 h 70"/>
                <a:gd name="T30" fmla="*/ 2 w 49"/>
                <a:gd name="T31" fmla="*/ 51 h 70"/>
                <a:gd name="T32" fmla="*/ 7 w 49"/>
                <a:gd name="T33"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70">
                  <a:moveTo>
                    <a:pt x="7" y="62"/>
                  </a:moveTo>
                  <a:cubicBezTo>
                    <a:pt x="9" y="65"/>
                    <a:pt x="12" y="67"/>
                    <a:pt x="15" y="68"/>
                  </a:cubicBezTo>
                  <a:cubicBezTo>
                    <a:pt x="18" y="70"/>
                    <a:pt x="21" y="70"/>
                    <a:pt x="25" y="70"/>
                  </a:cubicBezTo>
                  <a:cubicBezTo>
                    <a:pt x="28" y="70"/>
                    <a:pt x="31" y="70"/>
                    <a:pt x="34" y="68"/>
                  </a:cubicBezTo>
                  <a:cubicBezTo>
                    <a:pt x="37" y="67"/>
                    <a:pt x="39" y="65"/>
                    <a:pt x="42" y="62"/>
                  </a:cubicBezTo>
                  <a:cubicBezTo>
                    <a:pt x="44" y="59"/>
                    <a:pt x="46" y="56"/>
                    <a:pt x="47" y="51"/>
                  </a:cubicBezTo>
                  <a:cubicBezTo>
                    <a:pt x="48" y="47"/>
                    <a:pt x="49" y="42"/>
                    <a:pt x="49" y="36"/>
                  </a:cubicBezTo>
                  <a:cubicBezTo>
                    <a:pt x="49" y="31"/>
                    <a:pt x="49" y="27"/>
                    <a:pt x="48" y="22"/>
                  </a:cubicBezTo>
                  <a:cubicBezTo>
                    <a:pt x="47" y="18"/>
                    <a:pt x="45" y="14"/>
                    <a:pt x="43" y="11"/>
                  </a:cubicBezTo>
                  <a:cubicBezTo>
                    <a:pt x="42" y="8"/>
                    <a:pt x="39" y="5"/>
                    <a:pt x="36" y="3"/>
                  </a:cubicBezTo>
                  <a:cubicBezTo>
                    <a:pt x="33" y="1"/>
                    <a:pt x="29" y="0"/>
                    <a:pt x="25" y="0"/>
                  </a:cubicBezTo>
                  <a:cubicBezTo>
                    <a:pt x="21" y="0"/>
                    <a:pt x="17" y="1"/>
                    <a:pt x="14" y="3"/>
                  </a:cubicBezTo>
                  <a:cubicBezTo>
                    <a:pt x="10" y="5"/>
                    <a:pt x="8" y="7"/>
                    <a:pt x="6" y="11"/>
                  </a:cubicBezTo>
                  <a:cubicBezTo>
                    <a:pt x="4" y="14"/>
                    <a:pt x="2" y="18"/>
                    <a:pt x="1" y="22"/>
                  </a:cubicBezTo>
                  <a:cubicBezTo>
                    <a:pt x="0" y="26"/>
                    <a:pt x="0" y="31"/>
                    <a:pt x="0" y="35"/>
                  </a:cubicBezTo>
                  <a:cubicBezTo>
                    <a:pt x="0" y="42"/>
                    <a:pt x="0" y="47"/>
                    <a:pt x="2" y="51"/>
                  </a:cubicBezTo>
                  <a:cubicBezTo>
                    <a:pt x="3" y="56"/>
                    <a:pt x="5" y="59"/>
                    <a:pt x="7" y="62"/>
                  </a:cubicBezTo>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132" name="Freeform 13"/>
            <p:cNvSpPr>
              <a:spLocks noEditPoints="1"/>
            </p:cNvSpPr>
            <p:nvPr/>
          </p:nvSpPr>
          <p:spPr bwMode="auto">
            <a:xfrm>
              <a:off x="4743" y="1874"/>
              <a:ext cx="197" cy="260"/>
            </a:xfrm>
            <a:custGeom>
              <a:avLst/>
              <a:gdLst>
                <a:gd name="T0" fmla="*/ 354 w 502"/>
                <a:gd name="T1" fmla="*/ 522 h 667"/>
                <a:gd name="T2" fmla="*/ 502 w 502"/>
                <a:gd name="T3" fmla="*/ 102 h 667"/>
                <a:gd name="T4" fmla="*/ 0 w 502"/>
                <a:gd name="T5" fmla="*/ 100 h 667"/>
                <a:gd name="T6" fmla="*/ 212 w 502"/>
                <a:gd name="T7" fmla="*/ 667 h 667"/>
                <a:gd name="T8" fmla="*/ 337 w 502"/>
                <a:gd name="T9" fmla="*/ 521 h 667"/>
                <a:gd name="T10" fmla="*/ 340 w 502"/>
                <a:gd name="T11" fmla="*/ 424 h 667"/>
                <a:gd name="T12" fmla="*/ 381 w 502"/>
                <a:gd name="T13" fmla="*/ 290 h 667"/>
                <a:gd name="T14" fmla="*/ 427 w 502"/>
                <a:gd name="T15" fmla="*/ 393 h 667"/>
                <a:gd name="T16" fmla="*/ 427 w 502"/>
                <a:gd name="T17" fmla="*/ 424 h 667"/>
                <a:gd name="T18" fmla="*/ 429 w 502"/>
                <a:gd name="T19" fmla="*/ 91 h 667"/>
                <a:gd name="T20" fmla="*/ 72 w 502"/>
                <a:gd name="T21" fmla="*/ 91 h 667"/>
                <a:gd name="T22" fmla="*/ 176 w 502"/>
                <a:gd name="T23" fmla="*/ 393 h 667"/>
                <a:gd name="T24" fmla="*/ 165 w 502"/>
                <a:gd name="T25" fmla="*/ 412 h 667"/>
                <a:gd name="T26" fmla="*/ 139 w 502"/>
                <a:gd name="T27" fmla="*/ 425 h 667"/>
                <a:gd name="T28" fmla="*/ 106 w 502"/>
                <a:gd name="T29" fmla="*/ 426 h 667"/>
                <a:gd name="T30" fmla="*/ 87 w 502"/>
                <a:gd name="T31" fmla="*/ 422 h 667"/>
                <a:gd name="T32" fmla="*/ 80 w 502"/>
                <a:gd name="T33" fmla="*/ 383 h 667"/>
                <a:gd name="T34" fmla="*/ 97 w 502"/>
                <a:gd name="T35" fmla="*/ 392 h 667"/>
                <a:gd name="T36" fmla="*/ 117 w 502"/>
                <a:gd name="T37" fmla="*/ 397 h 667"/>
                <a:gd name="T38" fmla="*/ 129 w 502"/>
                <a:gd name="T39" fmla="*/ 393 h 667"/>
                <a:gd name="T40" fmla="*/ 131 w 502"/>
                <a:gd name="T41" fmla="*/ 387 h 667"/>
                <a:gd name="T42" fmla="*/ 126 w 502"/>
                <a:gd name="T43" fmla="*/ 378 h 667"/>
                <a:gd name="T44" fmla="*/ 110 w 502"/>
                <a:gd name="T45" fmla="*/ 371 h 667"/>
                <a:gd name="T46" fmla="*/ 85 w 502"/>
                <a:gd name="T47" fmla="*/ 354 h 667"/>
                <a:gd name="T48" fmla="*/ 78 w 502"/>
                <a:gd name="T49" fmla="*/ 331 h 667"/>
                <a:gd name="T50" fmla="*/ 93 w 502"/>
                <a:gd name="T51" fmla="*/ 299 h 667"/>
                <a:gd name="T52" fmla="*/ 132 w 502"/>
                <a:gd name="T53" fmla="*/ 288 h 667"/>
                <a:gd name="T54" fmla="*/ 155 w 502"/>
                <a:gd name="T55" fmla="*/ 290 h 667"/>
                <a:gd name="T56" fmla="*/ 170 w 502"/>
                <a:gd name="T57" fmla="*/ 293 h 667"/>
                <a:gd name="T58" fmla="*/ 163 w 502"/>
                <a:gd name="T59" fmla="*/ 324 h 667"/>
                <a:gd name="T60" fmla="*/ 146 w 502"/>
                <a:gd name="T61" fmla="*/ 319 h 667"/>
                <a:gd name="T62" fmla="*/ 125 w 502"/>
                <a:gd name="T63" fmla="*/ 320 h 667"/>
                <a:gd name="T64" fmla="*/ 122 w 502"/>
                <a:gd name="T65" fmla="*/ 331 h 667"/>
                <a:gd name="T66" fmla="*/ 130 w 502"/>
                <a:gd name="T67" fmla="*/ 338 h 667"/>
                <a:gd name="T68" fmla="*/ 154 w 502"/>
                <a:gd name="T69" fmla="*/ 349 h 667"/>
                <a:gd name="T70" fmla="*/ 174 w 502"/>
                <a:gd name="T71" fmla="*/ 369 h 667"/>
                <a:gd name="T72" fmla="*/ 176 w 502"/>
                <a:gd name="T73" fmla="*/ 393 h 667"/>
                <a:gd name="T74" fmla="*/ 186 w 502"/>
                <a:gd name="T75" fmla="*/ 359 h 667"/>
                <a:gd name="T76" fmla="*/ 205 w 502"/>
                <a:gd name="T77" fmla="*/ 308 h 667"/>
                <a:gd name="T78" fmla="*/ 255 w 502"/>
                <a:gd name="T79" fmla="*/ 288 h 667"/>
                <a:gd name="T80" fmla="*/ 302 w 502"/>
                <a:gd name="T81" fmla="*/ 307 h 667"/>
                <a:gd name="T82" fmla="*/ 321 w 502"/>
                <a:gd name="T83" fmla="*/ 357 h 667"/>
                <a:gd name="T84" fmla="*/ 310 w 502"/>
                <a:gd name="T85" fmla="*/ 396 h 667"/>
                <a:gd name="T86" fmla="*/ 284 w 502"/>
                <a:gd name="T87" fmla="*/ 420 h 667"/>
                <a:gd name="T88" fmla="*/ 278 w 502"/>
                <a:gd name="T89" fmla="*/ 459 h 667"/>
                <a:gd name="T90" fmla="*/ 224 w 502"/>
                <a:gd name="T91" fmla="*/ 421 h 667"/>
                <a:gd name="T92" fmla="*/ 191 w 502"/>
                <a:gd name="T93" fmla="*/ 38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2" h="667">
                  <a:moveTo>
                    <a:pt x="337" y="521"/>
                  </a:moveTo>
                  <a:cubicBezTo>
                    <a:pt x="343" y="521"/>
                    <a:pt x="348" y="521"/>
                    <a:pt x="354" y="522"/>
                  </a:cubicBezTo>
                  <a:cubicBezTo>
                    <a:pt x="382" y="466"/>
                    <a:pt x="438" y="430"/>
                    <a:pt x="502" y="427"/>
                  </a:cubicBezTo>
                  <a:lnTo>
                    <a:pt x="502" y="102"/>
                  </a:lnTo>
                  <a:cubicBezTo>
                    <a:pt x="502" y="50"/>
                    <a:pt x="389" y="0"/>
                    <a:pt x="251" y="0"/>
                  </a:cubicBezTo>
                  <a:cubicBezTo>
                    <a:pt x="113" y="0"/>
                    <a:pt x="0" y="48"/>
                    <a:pt x="0" y="100"/>
                  </a:cubicBezTo>
                  <a:lnTo>
                    <a:pt x="0" y="568"/>
                  </a:lnTo>
                  <a:cubicBezTo>
                    <a:pt x="0" y="615"/>
                    <a:pt x="92" y="659"/>
                    <a:pt x="212" y="667"/>
                  </a:cubicBezTo>
                  <a:cubicBezTo>
                    <a:pt x="211" y="661"/>
                    <a:pt x="211" y="654"/>
                    <a:pt x="211" y="647"/>
                  </a:cubicBezTo>
                  <a:cubicBezTo>
                    <a:pt x="211" y="578"/>
                    <a:pt x="267" y="521"/>
                    <a:pt x="337" y="521"/>
                  </a:cubicBezTo>
                  <a:close/>
                  <a:moveTo>
                    <a:pt x="427" y="424"/>
                  </a:moveTo>
                  <a:lnTo>
                    <a:pt x="340" y="424"/>
                  </a:lnTo>
                  <a:lnTo>
                    <a:pt x="340" y="290"/>
                  </a:lnTo>
                  <a:lnTo>
                    <a:pt x="381" y="290"/>
                  </a:lnTo>
                  <a:lnTo>
                    <a:pt x="381" y="393"/>
                  </a:lnTo>
                  <a:lnTo>
                    <a:pt x="427" y="393"/>
                  </a:lnTo>
                  <a:lnTo>
                    <a:pt x="427" y="424"/>
                  </a:lnTo>
                  <a:lnTo>
                    <a:pt x="427" y="424"/>
                  </a:lnTo>
                  <a:close/>
                  <a:moveTo>
                    <a:pt x="251" y="36"/>
                  </a:moveTo>
                  <a:cubicBezTo>
                    <a:pt x="349" y="36"/>
                    <a:pt x="429" y="61"/>
                    <a:pt x="429" y="91"/>
                  </a:cubicBezTo>
                  <a:cubicBezTo>
                    <a:pt x="429" y="121"/>
                    <a:pt x="349" y="146"/>
                    <a:pt x="251" y="146"/>
                  </a:cubicBezTo>
                  <a:cubicBezTo>
                    <a:pt x="152" y="146"/>
                    <a:pt x="72" y="121"/>
                    <a:pt x="72" y="91"/>
                  </a:cubicBezTo>
                  <a:cubicBezTo>
                    <a:pt x="72" y="61"/>
                    <a:pt x="152" y="36"/>
                    <a:pt x="251" y="36"/>
                  </a:cubicBezTo>
                  <a:close/>
                  <a:moveTo>
                    <a:pt x="176" y="393"/>
                  </a:moveTo>
                  <a:cubicBezTo>
                    <a:pt x="175" y="397"/>
                    <a:pt x="174" y="400"/>
                    <a:pt x="172" y="403"/>
                  </a:cubicBezTo>
                  <a:cubicBezTo>
                    <a:pt x="170" y="406"/>
                    <a:pt x="168" y="409"/>
                    <a:pt x="165" y="412"/>
                  </a:cubicBezTo>
                  <a:cubicBezTo>
                    <a:pt x="162" y="415"/>
                    <a:pt x="159" y="418"/>
                    <a:pt x="154" y="420"/>
                  </a:cubicBezTo>
                  <a:cubicBezTo>
                    <a:pt x="150" y="422"/>
                    <a:pt x="145" y="424"/>
                    <a:pt x="139" y="425"/>
                  </a:cubicBezTo>
                  <a:cubicBezTo>
                    <a:pt x="133" y="426"/>
                    <a:pt x="126" y="427"/>
                    <a:pt x="118" y="427"/>
                  </a:cubicBezTo>
                  <a:cubicBezTo>
                    <a:pt x="114" y="427"/>
                    <a:pt x="110" y="427"/>
                    <a:pt x="106" y="426"/>
                  </a:cubicBezTo>
                  <a:cubicBezTo>
                    <a:pt x="103" y="426"/>
                    <a:pt x="99" y="425"/>
                    <a:pt x="96" y="424"/>
                  </a:cubicBezTo>
                  <a:cubicBezTo>
                    <a:pt x="93" y="424"/>
                    <a:pt x="90" y="423"/>
                    <a:pt x="87" y="422"/>
                  </a:cubicBezTo>
                  <a:cubicBezTo>
                    <a:pt x="84" y="421"/>
                    <a:pt x="82" y="420"/>
                    <a:pt x="80" y="420"/>
                  </a:cubicBezTo>
                  <a:lnTo>
                    <a:pt x="80" y="383"/>
                  </a:lnTo>
                  <a:cubicBezTo>
                    <a:pt x="82" y="384"/>
                    <a:pt x="85" y="386"/>
                    <a:pt x="88" y="388"/>
                  </a:cubicBezTo>
                  <a:cubicBezTo>
                    <a:pt x="91" y="389"/>
                    <a:pt x="94" y="391"/>
                    <a:pt x="97" y="392"/>
                  </a:cubicBezTo>
                  <a:cubicBezTo>
                    <a:pt x="100" y="393"/>
                    <a:pt x="104" y="394"/>
                    <a:pt x="107" y="395"/>
                  </a:cubicBezTo>
                  <a:cubicBezTo>
                    <a:pt x="111" y="396"/>
                    <a:pt x="114" y="397"/>
                    <a:pt x="117" y="397"/>
                  </a:cubicBezTo>
                  <a:cubicBezTo>
                    <a:pt x="120" y="397"/>
                    <a:pt x="123" y="396"/>
                    <a:pt x="124" y="396"/>
                  </a:cubicBezTo>
                  <a:cubicBezTo>
                    <a:pt x="126" y="395"/>
                    <a:pt x="128" y="394"/>
                    <a:pt x="129" y="393"/>
                  </a:cubicBezTo>
                  <a:cubicBezTo>
                    <a:pt x="130" y="393"/>
                    <a:pt x="130" y="392"/>
                    <a:pt x="131" y="391"/>
                  </a:cubicBezTo>
                  <a:cubicBezTo>
                    <a:pt x="131" y="389"/>
                    <a:pt x="131" y="388"/>
                    <a:pt x="131" y="387"/>
                  </a:cubicBezTo>
                  <a:cubicBezTo>
                    <a:pt x="131" y="385"/>
                    <a:pt x="131" y="383"/>
                    <a:pt x="130" y="382"/>
                  </a:cubicBezTo>
                  <a:cubicBezTo>
                    <a:pt x="129" y="380"/>
                    <a:pt x="127" y="379"/>
                    <a:pt x="126" y="378"/>
                  </a:cubicBezTo>
                  <a:cubicBezTo>
                    <a:pt x="124" y="377"/>
                    <a:pt x="121" y="375"/>
                    <a:pt x="119" y="374"/>
                  </a:cubicBezTo>
                  <a:cubicBezTo>
                    <a:pt x="116" y="373"/>
                    <a:pt x="113" y="372"/>
                    <a:pt x="110" y="371"/>
                  </a:cubicBezTo>
                  <a:cubicBezTo>
                    <a:pt x="105" y="369"/>
                    <a:pt x="100" y="366"/>
                    <a:pt x="95" y="363"/>
                  </a:cubicBezTo>
                  <a:cubicBezTo>
                    <a:pt x="91" y="360"/>
                    <a:pt x="88" y="357"/>
                    <a:pt x="85" y="354"/>
                  </a:cubicBezTo>
                  <a:cubicBezTo>
                    <a:pt x="83" y="350"/>
                    <a:pt x="81" y="346"/>
                    <a:pt x="80" y="343"/>
                  </a:cubicBezTo>
                  <a:cubicBezTo>
                    <a:pt x="78" y="339"/>
                    <a:pt x="78" y="335"/>
                    <a:pt x="78" y="331"/>
                  </a:cubicBezTo>
                  <a:cubicBezTo>
                    <a:pt x="78" y="324"/>
                    <a:pt x="79" y="318"/>
                    <a:pt x="82" y="313"/>
                  </a:cubicBezTo>
                  <a:cubicBezTo>
                    <a:pt x="84" y="307"/>
                    <a:pt x="88" y="303"/>
                    <a:pt x="93" y="299"/>
                  </a:cubicBezTo>
                  <a:cubicBezTo>
                    <a:pt x="98" y="296"/>
                    <a:pt x="104" y="293"/>
                    <a:pt x="110" y="291"/>
                  </a:cubicBezTo>
                  <a:cubicBezTo>
                    <a:pt x="117" y="289"/>
                    <a:pt x="124" y="288"/>
                    <a:pt x="132" y="288"/>
                  </a:cubicBezTo>
                  <a:cubicBezTo>
                    <a:pt x="137" y="288"/>
                    <a:pt x="141" y="288"/>
                    <a:pt x="145" y="288"/>
                  </a:cubicBezTo>
                  <a:cubicBezTo>
                    <a:pt x="149" y="289"/>
                    <a:pt x="152" y="289"/>
                    <a:pt x="155" y="290"/>
                  </a:cubicBezTo>
                  <a:cubicBezTo>
                    <a:pt x="158" y="290"/>
                    <a:pt x="161" y="291"/>
                    <a:pt x="163" y="291"/>
                  </a:cubicBezTo>
                  <a:cubicBezTo>
                    <a:pt x="166" y="292"/>
                    <a:pt x="168" y="292"/>
                    <a:pt x="170" y="293"/>
                  </a:cubicBezTo>
                  <a:lnTo>
                    <a:pt x="170" y="327"/>
                  </a:lnTo>
                  <a:cubicBezTo>
                    <a:pt x="168" y="326"/>
                    <a:pt x="166" y="325"/>
                    <a:pt x="163" y="324"/>
                  </a:cubicBezTo>
                  <a:cubicBezTo>
                    <a:pt x="161" y="323"/>
                    <a:pt x="158" y="322"/>
                    <a:pt x="155" y="321"/>
                  </a:cubicBezTo>
                  <a:cubicBezTo>
                    <a:pt x="152" y="320"/>
                    <a:pt x="149" y="319"/>
                    <a:pt x="146" y="319"/>
                  </a:cubicBezTo>
                  <a:cubicBezTo>
                    <a:pt x="143" y="318"/>
                    <a:pt x="140" y="318"/>
                    <a:pt x="136" y="318"/>
                  </a:cubicBezTo>
                  <a:cubicBezTo>
                    <a:pt x="132" y="318"/>
                    <a:pt x="128" y="319"/>
                    <a:pt x="125" y="320"/>
                  </a:cubicBezTo>
                  <a:cubicBezTo>
                    <a:pt x="123" y="322"/>
                    <a:pt x="121" y="324"/>
                    <a:pt x="121" y="327"/>
                  </a:cubicBezTo>
                  <a:cubicBezTo>
                    <a:pt x="121" y="329"/>
                    <a:pt x="122" y="330"/>
                    <a:pt x="122" y="331"/>
                  </a:cubicBezTo>
                  <a:cubicBezTo>
                    <a:pt x="123" y="333"/>
                    <a:pt x="124" y="334"/>
                    <a:pt x="125" y="335"/>
                  </a:cubicBezTo>
                  <a:cubicBezTo>
                    <a:pt x="126" y="336"/>
                    <a:pt x="128" y="337"/>
                    <a:pt x="130" y="338"/>
                  </a:cubicBezTo>
                  <a:cubicBezTo>
                    <a:pt x="133" y="339"/>
                    <a:pt x="135" y="340"/>
                    <a:pt x="138" y="341"/>
                  </a:cubicBezTo>
                  <a:cubicBezTo>
                    <a:pt x="144" y="344"/>
                    <a:pt x="149" y="346"/>
                    <a:pt x="154" y="349"/>
                  </a:cubicBezTo>
                  <a:cubicBezTo>
                    <a:pt x="159" y="351"/>
                    <a:pt x="163" y="354"/>
                    <a:pt x="166" y="358"/>
                  </a:cubicBezTo>
                  <a:cubicBezTo>
                    <a:pt x="169" y="361"/>
                    <a:pt x="172" y="365"/>
                    <a:pt x="174" y="369"/>
                  </a:cubicBezTo>
                  <a:cubicBezTo>
                    <a:pt x="176" y="373"/>
                    <a:pt x="177" y="378"/>
                    <a:pt x="177" y="384"/>
                  </a:cubicBezTo>
                  <a:cubicBezTo>
                    <a:pt x="177" y="387"/>
                    <a:pt x="176" y="390"/>
                    <a:pt x="176" y="393"/>
                  </a:cubicBezTo>
                  <a:close/>
                  <a:moveTo>
                    <a:pt x="191" y="386"/>
                  </a:moveTo>
                  <a:cubicBezTo>
                    <a:pt x="187" y="378"/>
                    <a:pt x="186" y="369"/>
                    <a:pt x="186" y="359"/>
                  </a:cubicBezTo>
                  <a:cubicBezTo>
                    <a:pt x="186" y="348"/>
                    <a:pt x="187" y="339"/>
                    <a:pt x="191" y="330"/>
                  </a:cubicBezTo>
                  <a:cubicBezTo>
                    <a:pt x="194" y="321"/>
                    <a:pt x="199" y="314"/>
                    <a:pt x="205" y="308"/>
                  </a:cubicBezTo>
                  <a:cubicBezTo>
                    <a:pt x="211" y="301"/>
                    <a:pt x="218" y="296"/>
                    <a:pt x="227" y="293"/>
                  </a:cubicBezTo>
                  <a:cubicBezTo>
                    <a:pt x="235" y="290"/>
                    <a:pt x="245" y="288"/>
                    <a:pt x="255" y="288"/>
                  </a:cubicBezTo>
                  <a:cubicBezTo>
                    <a:pt x="264" y="288"/>
                    <a:pt x="273" y="289"/>
                    <a:pt x="281" y="293"/>
                  </a:cubicBezTo>
                  <a:cubicBezTo>
                    <a:pt x="289" y="296"/>
                    <a:pt x="296" y="300"/>
                    <a:pt x="302" y="307"/>
                  </a:cubicBezTo>
                  <a:cubicBezTo>
                    <a:pt x="308" y="312"/>
                    <a:pt x="313" y="320"/>
                    <a:pt x="316" y="328"/>
                  </a:cubicBezTo>
                  <a:cubicBezTo>
                    <a:pt x="319" y="337"/>
                    <a:pt x="321" y="346"/>
                    <a:pt x="321" y="357"/>
                  </a:cubicBezTo>
                  <a:cubicBezTo>
                    <a:pt x="321" y="365"/>
                    <a:pt x="320" y="372"/>
                    <a:pt x="318" y="378"/>
                  </a:cubicBezTo>
                  <a:cubicBezTo>
                    <a:pt x="316" y="385"/>
                    <a:pt x="314" y="391"/>
                    <a:pt x="310" y="396"/>
                  </a:cubicBezTo>
                  <a:cubicBezTo>
                    <a:pt x="307" y="402"/>
                    <a:pt x="303" y="406"/>
                    <a:pt x="299" y="410"/>
                  </a:cubicBezTo>
                  <a:cubicBezTo>
                    <a:pt x="294" y="414"/>
                    <a:pt x="289" y="418"/>
                    <a:pt x="284" y="420"/>
                  </a:cubicBezTo>
                  <a:lnTo>
                    <a:pt x="329" y="459"/>
                  </a:lnTo>
                  <a:lnTo>
                    <a:pt x="278" y="459"/>
                  </a:lnTo>
                  <a:lnTo>
                    <a:pt x="248" y="427"/>
                  </a:lnTo>
                  <a:cubicBezTo>
                    <a:pt x="239" y="426"/>
                    <a:pt x="231" y="424"/>
                    <a:pt x="224" y="421"/>
                  </a:cubicBezTo>
                  <a:cubicBezTo>
                    <a:pt x="216" y="418"/>
                    <a:pt x="210" y="413"/>
                    <a:pt x="204" y="407"/>
                  </a:cubicBezTo>
                  <a:cubicBezTo>
                    <a:pt x="198" y="402"/>
                    <a:pt x="194" y="395"/>
                    <a:pt x="191" y="386"/>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sp>
          <p:nvSpPr>
            <p:cNvPr id="133" name="Freeform 14"/>
            <p:cNvSpPr>
              <a:spLocks noEditPoints="1"/>
            </p:cNvSpPr>
            <p:nvPr/>
          </p:nvSpPr>
          <p:spPr bwMode="auto">
            <a:xfrm>
              <a:off x="4833" y="2047"/>
              <a:ext cx="193" cy="121"/>
            </a:xfrm>
            <a:custGeom>
              <a:avLst/>
              <a:gdLst>
                <a:gd name="T0" fmla="*/ 492 w 492"/>
                <a:gd name="T1" fmla="*/ 249 h 312"/>
                <a:gd name="T2" fmla="*/ 433 w 492"/>
                <a:gd name="T3" fmla="*/ 185 h 312"/>
                <a:gd name="T4" fmla="*/ 436 w 492"/>
                <a:gd name="T5" fmla="*/ 155 h 312"/>
                <a:gd name="T6" fmla="*/ 281 w 492"/>
                <a:gd name="T7" fmla="*/ 0 h 312"/>
                <a:gd name="T8" fmla="*/ 136 w 492"/>
                <a:gd name="T9" fmla="*/ 98 h 312"/>
                <a:gd name="T10" fmla="*/ 109 w 492"/>
                <a:gd name="T11" fmla="*/ 94 h 312"/>
                <a:gd name="T12" fmla="*/ 0 w 492"/>
                <a:gd name="T13" fmla="*/ 203 h 312"/>
                <a:gd name="T14" fmla="*/ 107 w 492"/>
                <a:gd name="T15" fmla="*/ 312 h 312"/>
                <a:gd name="T16" fmla="*/ 433 w 492"/>
                <a:gd name="T17" fmla="*/ 312 h 312"/>
                <a:gd name="T18" fmla="*/ 446 w 492"/>
                <a:gd name="T19" fmla="*/ 312 h 312"/>
                <a:gd name="T20" fmla="*/ 445 w 492"/>
                <a:gd name="T21" fmla="*/ 310 h 312"/>
                <a:gd name="T22" fmla="*/ 492 w 492"/>
                <a:gd name="T23" fmla="*/ 249 h 312"/>
                <a:gd name="T24" fmla="*/ 433 w 492"/>
                <a:gd name="T25" fmla="*/ 295 h 312"/>
                <a:gd name="T26" fmla="*/ 109 w 492"/>
                <a:gd name="T27" fmla="*/ 295 h 312"/>
                <a:gd name="T28" fmla="*/ 17 w 492"/>
                <a:gd name="T29" fmla="*/ 203 h 312"/>
                <a:gd name="T30" fmla="*/ 109 w 492"/>
                <a:gd name="T31" fmla="*/ 112 h 312"/>
                <a:gd name="T32" fmla="*/ 139 w 492"/>
                <a:gd name="T33" fmla="*/ 117 h 312"/>
                <a:gd name="T34" fmla="*/ 147 w 492"/>
                <a:gd name="T35" fmla="*/ 120 h 312"/>
                <a:gd name="T36" fmla="*/ 150 w 492"/>
                <a:gd name="T37" fmla="*/ 111 h 312"/>
                <a:gd name="T38" fmla="*/ 281 w 492"/>
                <a:gd name="T39" fmla="*/ 17 h 312"/>
                <a:gd name="T40" fmla="*/ 419 w 492"/>
                <a:gd name="T41" fmla="*/ 155 h 312"/>
                <a:gd name="T42" fmla="*/ 414 w 492"/>
                <a:gd name="T43" fmla="*/ 192 h 312"/>
                <a:gd name="T44" fmla="*/ 410 w 492"/>
                <a:gd name="T45" fmla="*/ 204 h 312"/>
                <a:gd name="T46" fmla="*/ 423 w 492"/>
                <a:gd name="T47" fmla="*/ 203 h 312"/>
                <a:gd name="T48" fmla="*/ 429 w 492"/>
                <a:gd name="T49" fmla="*/ 202 h 312"/>
                <a:gd name="T50" fmla="*/ 475 w 492"/>
                <a:gd name="T51" fmla="*/ 249 h 312"/>
                <a:gd name="T52" fmla="*/ 433 w 492"/>
                <a:gd name="T53" fmla="*/ 29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2" h="312">
                  <a:moveTo>
                    <a:pt x="492" y="249"/>
                  </a:moveTo>
                  <a:cubicBezTo>
                    <a:pt x="492" y="215"/>
                    <a:pt x="466" y="187"/>
                    <a:pt x="433" y="185"/>
                  </a:cubicBezTo>
                  <a:cubicBezTo>
                    <a:pt x="435" y="175"/>
                    <a:pt x="436" y="165"/>
                    <a:pt x="436" y="155"/>
                  </a:cubicBezTo>
                  <a:cubicBezTo>
                    <a:pt x="436" y="70"/>
                    <a:pt x="366" y="0"/>
                    <a:pt x="281" y="0"/>
                  </a:cubicBezTo>
                  <a:cubicBezTo>
                    <a:pt x="217" y="0"/>
                    <a:pt x="160" y="39"/>
                    <a:pt x="136" y="98"/>
                  </a:cubicBezTo>
                  <a:cubicBezTo>
                    <a:pt x="127" y="96"/>
                    <a:pt x="118" y="94"/>
                    <a:pt x="109" y="94"/>
                  </a:cubicBezTo>
                  <a:cubicBezTo>
                    <a:pt x="49" y="94"/>
                    <a:pt x="0" y="143"/>
                    <a:pt x="0" y="203"/>
                  </a:cubicBezTo>
                  <a:cubicBezTo>
                    <a:pt x="0" y="262"/>
                    <a:pt x="47" y="311"/>
                    <a:pt x="107" y="312"/>
                  </a:cubicBezTo>
                  <a:lnTo>
                    <a:pt x="433" y="312"/>
                  </a:lnTo>
                  <a:lnTo>
                    <a:pt x="446" y="312"/>
                  </a:lnTo>
                  <a:lnTo>
                    <a:pt x="445" y="310"/>
                  </a:lnTo>
                  <a:cubicBezTo>
                    <a:pt x="472" y="303"/>
                    <a:pt x="492" y="278"/>
                    <a:pt x="492" y="249"/>
                  </a:cubicBezTo>
                  <a:close/>
                  <a:moveTo>
                    <a:pt x="433" y="295"/>
                  </a:moveTo>
                  <a:lnTo>
                    <a:pt x="109" y="295"/>
                  </a:lnTo>
                  <a:cubicBezTo>
                    <a:pt x="58" y="295"/>
                    <a:pt x="17" y="254"/>
                    <a:pt x="17" y="203"/>
                  </a:cubicBezTo>
                  <a:cubicBezTo>
                    <a:pt x="17" y="153"/>
                    <a:pt x="58" y="112"/>
                    <a:pt x="109" y="112"/>
                  </a:cubicBezTo>
                  <a:cubicBezTo>
                    <a:pt x="119" y="112"/>
                    <a:pt x="129" y="113"/>
                    <a:pt x="139" y="117"/>
                  </a:cubicBezTo>
                  <a:lnTo>
                    <a:pt x="147" y="120"/>
                  </a:lnTo>
                  <a:lnTo>
                    <a:pt x="150" y="111"/>
                  </a:lnTo>
                  <a:cubicBezTo>
                    <a:pt x="169" y="55"/>
                    <a:pt x="221" y="17"/>
                    <a:pt x="281" y="17"/>
                  </a:cubicBezTo>
                  <a:cubicBezTo>
                    <a:pt x="357" y="17"/>
                    <a:pt x="419" y="79"/>
                    <a:pt x="419" y="155"/>
                  </a:cubicBezTo>
                  <a:cubicBezTo>
                    <a:pt x="419" y="167"/>
                    <a:pt x="417" y="180"/>
                    <a:pt x="414" y="192"/>
                  </a:cubicBezTo>
                  <a:lnTo>
                    <a:pt x="410" y="204"/>
                  </a:lnTo>
                  <a:lnTo>
                    <a:pt x="423" y="203"/>
                  </a:lnTo>
                  <a:cubicBezTo>
                    <a:pt x="425" y="202"/>
                    <a:pt x="427" y="202"/>
                    <a:pt x="429" y="202"/>
                  </a:cubicBezTo>
                  <a:cubicBezTo>
                    <a:pt x="454" y="202"/>
                    <a:pt x="475" y="223"/>
                    <a:pt x="475" y="249"/>
                  </a:cubicBezTo>
                  <a:cubicBezTo>
                    <a:pt x="475" y="272"/>
                    <a:pt x="456" y="293"/>
                    <a:pt x="433" y="295"/>
                  </a:cubicBezTo>
                  <a:close/>
                </a:path>
              </a:pathLst>
            </a:custGeom>
            <a:grpFill/>
            <a:ln w="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ln>
                  <a:solidFill>
                    <a:srgbClr val="FFFFFF"/>
                  </a:solidFill>
                </a:ln>
                <a:solidFill>
                  <a:srgbClr val="353535"/>
                </a:solidFill>
                <a:latin typeface="Segoe UI Semilight"/>
              </a:endParaRPr>
            </a:p>
          </p:txBody>
        </p:sp>
      </p:grpSp>
      <p:sp>
        <p:nvSpPr>
          <p:cNvPr id="135" name="TextBox 134"/>
          <p:cNvSpPr txBox="1"/>
          <p:nvPr/>
        </p:nvSpPr>
        <p:spPr>
          <a:xfrm>
            <a:off x="3072742" y="5121022"/>
            <a:ext cx="546170" cy="892717"/>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dirty="0">
                <a:solidFill>
                  <a:srgbClr val="FFFFFF"/>
                </a:solidFill>
                <a:latin typeface="Segoe UI Semilight"/>
              </a:rPr>
              <a:t>SQL</a:t>
            </a:r>
          </a:p>
        </p:txBody>
      </p:sp>
      <p:sp>
        <p:nvSpPr>
          <p:cNvPr id="136" name="Rectangle: Rounded Corners 135"/>
          <p:cNvSpPr/>
          <p:nvPr/>
        </p:nvSpPr>
        <p:spPr bwMode="auto">
          <a:xfrm>
            <a:off x="5618983" y="2863402"/>
            <a:ext cx="1888989" cy="388668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0" numCol="1" spcCol="0" rtlCol="0" fromWordArt="0" anchor="b"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50933" fontAlgn="base">
              <a:lnSpc>
                <a:spcPct val="90000"/>
              </a:lnSpc>
              <a:spcBef>
                <a:spcPct val="0"/>
              </a:spcBef>
              <a:spcAft>
                <a:spcPct val="0"/>
              </a:spcAft>
              <a:defRPr/>
            </a:pPr>
            <a:r>
              <a:rPr lang="en-US" sz="1224" b="1" dirty="0">
                <a:solidFill>
                  <a:srgbClr val="FFFFFF"/>
                </a:solidFill>
                <a:latin typeface="Segoe UI Semilight"/>
                <a:ea typeface="Segoe UI" pitchFamily="34" charset="0"/>
                <a:cs typeface="Segoe UI" pitchFamily="34" charset="0"/>
              </a:rPr>
              <a:t>Availability Zone 3</a:t>
            </a:r>
          </a:p>
        </p:txBody>
      </p:sp>
      <p:grpSp>
        <p:nvGrpSpPr>
          <p:cNvPr id="143" name="Group 4"/>
          <p:cNvGrpSpPr>
            <a:grpSpLocks noChangeAspect="1"/>
          </p:cNvGrpSpPr>
          <p:nvPr/>
        </p:nvGrpSpPr>
        <p:grpSpPr bwMode="auto">
          <a:xfrm>
            <a:off x="5870132" y="5121023"/>
            <a:ext cx="972553" cy="892716"/>
            <a:chOff x="2299" y="1462"/>
            <a:chExt cx="268" cy="246"/>
          </a:xfrm>
          <a:solidFill>
            <a:schemeClr val="bg1"/>
          </a:solidFill>
        </p:grpSpPr>
        <p:sp>
          <p:nvSpPr>
            <p:cNvPr id="144" name="Freeform 5"/>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45" name="Freeform 6"/>
            <p:cNvSpPr>
              <a:spLocks/>
            </p:cNvSpPr>
            <p:nvPr/>
          </p:nvSpPr>
          <p:spPr bwMode="auto">
            <a:xfrm>
              <a:off x="2389" y="1507"/>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46" name="Freeform 7"/>
            <p:cNvSpPr>
              <a:spLocks/>
            </p:cNvSpPr>
            <p:nvPr/>
          </p:nvSpPr>
          <p:spPr bwMode="auto">
            <a:xfrm>
              <a:off x="2435" y="1539"/>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47" name="Freeform 8"/>
            <p:cNvSpPr>
              <a:spLocks/>
            </p:cNvSpPr>
            <p:nvPr/>
          </p:nvSpPr>
          <p:spPr bwMode="auto">
            <a:xfrm>
              <a:off x="2385" y="1539"/>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sp>
        <p:nvSpPr>
          <p:cNvPr id="153" name="TextBox 152"/>
          <p:cNvSpPr txBox="1"/>
          <p:nvPr/>
        </p:nvSpPr>
        <p:spPr>
          <a:xfrm>
            <a:off x="5472796" y="5121022"/>
            <a:ext cx="546170" cy="892717"/>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dirty="0">
                <a:solidFill>
                  <a:srgbClr val="FFFFFF"/>
                </a:solidFill>
                <a:latin typeface="Segoe UI Semilight"/>
              </a:rPr>
              <a:t>Witness</a:t>
            </a:r>
          </a:p>
        </p:txBody>
      </p:sp>
      <p:sp>
        <p:nvSpPr>
          <p:cNvPr id="154" name="TextBox 153"/>
          <p:cNvSpPr txBox="1"/>
          <p:nvPr/>
        </p:nvSpPr>
        <p:spPr>
          <a:xfrm>
            <a:off x="7486004" y="5058570"/>
            <a:ext cx="546170" cy="1143316"/>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a:solidFill>
                  <a:srgbClr val="FFFFFF"/>
                </a:solidFill>
                <a:latin typeface="Segoe UI Semilight"/>
              </a:rPr>
              <a:t>DB Subnet</a:t>
            </a:r>
          </a:p>
        </p:txBody>
      </p:sp>
      <p:sp>
        <p:nvSpPr>
          <p:cNvPr id="155" name="Rectangle 154"/>
          <p:cNvSpPr/>
          <p:nvPr/>
        </p:nvSpPr>
        <p:spPr bwMode="auto">
          <a:xfrm>
            <a:off x="136308" y="1511554"/>
            <a:ext cx="8056152" cy="5377762"/>
          </a:xfrm>
          <a:prstGeom prst="rect">
            <a:avLst/>
          </a:prstGeom>
          <a:noFill/>
          <a:ln w="25400" cap="rnd" cmpd="sng">
            <a:solidFill>
              <a:schemeClr val="bg1"/>
            </a:solidFill>
            <a:prstDash val="sys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6" name="TextBox 155"/>
          <p:cNvSpPr txBox="1"/>
          <p:nvPr/>
        </p:nvSpPr>
        <p:spPr>
          <a:xfrm>
            <a:off x="8102883" y="2278881"/>
            <a:ext cx="546170" cy="4471207"/>
          </a:xfrm>
          <a:prstGeom prst="rect">
            <a:avLst/>
          </a:prstGeom>
          <a:noFill/>
        </p:spPr>
        <p:txBody>
          <a:bodyPr vert="vert270" wrap="square" lIns="186497" tIns="149198" rIns="186497" bIns="149198" rtlCol="0">
            <a:spAutoFit/>
          </a:bodyPr>
          <a:lstStyle/>
          <a:p>
            <a:pPr algn="ctr" defTabSz="932504">
              <a:lnSpc>
                <a:spcPct val="90000"/>
              </a:lnSpc>
              <a:spcAft>
                <a:spcPts val="612"/>
              </a:spcAft>
              <a:defRPr/>
            </a:pPr>
            <a:r>
              <a:rPr lang="en-US" sz="1224" b="1" dirty="0" err="1">
                <a:solidFill>
                  <a:srgbClr val="FFFFFF"/>
                </a:solidFill>
                <a:latin typeface="Segoe UI Semilight"/>
              </a:rPr>
              <a:t>VNet</a:t>
            </a:r>
            <a:endParaRPr lang="en-US" sz="1224" b="1" dirty="0">
              <a:solidFill>
                <a:srgbClr val="FFFFFF"/>
              </a:solidFill>
              <a:latin typeface="Segoe UI Semilight"/>
            </a:endParaRPr>
          </a:p>
        </p:txBody>
      </p:sp>
      <p:cxnSp>
        <p:nvCxnSpPr>
          <p:cNvPr id="45" name="Straight Arrow Connector 44"/>
          <p:cNvCxnSpPr>
            <a:cxnSpLocks/>
          </p:cNvCxnSpPr>
          <p:nvPr/>
        </p:nvCxnSpPr>
        <p:spPr>
          <a:xfrm flipH="1">
            <a:off x="1471997" y="2184890"/>
            <a:ext cx="2510397" cy="1352284"/>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cxnSpLocks/>
            <a:stCxn id="87" idx="26"/>
          </p:cNvCxnSpPr>
          <p:nvPr/>
        </p:nvCxnSpPr>
        <p:spPr>
          <a:xfrm flipH="1">
            <a:off x="3963613" y="2131781"/>
            <a:ext cx="7363" cy="1405394"/>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cxnSpLocks/>
          </p:cNvCxnSpPr>
          <p:nvPr/>
        </p:nvCxnSpPr>
        <p:spPr>
          <a:xfrm>
            <a:off x="1411436" y="4454299"/>
            <a:ext cx="0" cy="55474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a:cxnSpLocks/>
          </p:cNvCxnSpPr>
          <p:nvPr/>
        </p:nvCxnSpPr>
        <p:spPr>
          <a:xfrm>
            <a:off x="3982495" y="4454299"/>
            <a:ext cx="0" cy="55474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Freeform 5"/>
          <p:cNvSpPr>
            <a:spLocks noEditPoints="1"/>
          </p:cNvSpPr>
          <p:nvPr/>
        </p:nvSpPr>
        <p:spPr bwMode="auto">
          <a:xfrm>
            <a:off x="3616458" y="3520921"/>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01" name="Freeform 5"/>
          <p:cNvSpPr>
            <a:spLocks noEditPoints="1"/>
          </p:cNvSpPr>
          <p:nvPr/>
        </p:nvSpPr>
        <p:spPr bwMode="auto">
          <a:xfrm>
            <a:off x="3540181" y="3563313"/>
            <a:ext cx="972553" cy="89271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nvGrpSpPr>
          <p:cNvPr id="102" name="Group 4"/>
          <p:cNvGrpSpPr>
            <a:grpSpLocks noChangeAspect="1"/>
          </p:cNvGrpSpPr>
          <p:nvPr/>
        </p:nvGrpSpPr>
        <p:grpSpPr bwMode="auto">
          <a:xfrm>
            <a:off x="3471403" y="3603048"/>
            <a:ext cx="972553" cy="892716"/>
            <a:chOff x="2299" y="1462"/>
            <a:chExt cx="268" cy="246"/>
          </a:xfrm>
          <a:solidFill>
            <a:schemeClr val="bg1"/>
          </a:solidFill>
        </p:grpSpPr>
        <p:sp>
          <p:nvSpPr>
            <p:cNvPr id="103" name="Freeform 5"/>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chemeClr val="tx2"/>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04" name="Freeform 6"/>
            <p:cNvSpPr>
              <a:spLocks/>
            </p:cNvSpPr>
            <p:nvPr/>
          </p:nvSpPr>
          <p:spPr bwMode="auto">
            <a:xfrm>
              <a:off x="2417" y="1499"/>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05" name="Freeform 7"/>
            <p:cNvSpPr>
              <a:spLocks/>
            </p:cNvSpPr>
            <p:nvPr/>
          </p:nvSpPr>
          <p:spPr bwMode="auto">
            <a:xfrm>
              <a:off x="2463" y="1531"/>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106" name="Freeform 8"/>
            <p:cNvSpPr>
              <a:spLocks/>
            </p:cNvSpPr>
            <p:nvPr/>
          </p:nvSpPr>
          <p:spPr bwMode="auto">
            <a:xfrm>
              <a:off x="2413" y="1531"/>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chemeClr val="tx2"/>
              </a:solidFill>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grpSp>
      <p:sp>
        <p:nvSpPr>
          <p:cNvPr id="107" name="TextBox 106"/>
          <p:cNvSpPr txBox="1"/>
          <p:nvPr/>
        </p:nvSpPr>
        <p:spPr>
          <a:xfrm>
            <a:off x="3074067" y="3501889"/>
            <a:ext cx="546170" cy="1044094"/>
          </a:xfrm>
          <a:prstGeom prst="rect">
            <a:avLst/>
          </a:prstGeom>
          <a:noFill/>
        </p:spPr>
        <p:txBody>
          <a:bodyPr vert="vert270" wrap="square" lIns="186497" tIns="149198" rIns="186497" bIns="149198" rtlCol="0">
            <a:spAutoFit/>
          </a:bodyPr>
          <a:lstStyle/>
          <a:p>
            <a:pPr defTabSz="932504">
              <a:lnSpc>
                <a:spcPct val="90000"/>
              </a:lnSpc>
              <a:spcAft>
                <a:spcPts val="612"/>
              </a:spcAft>
              <a:defRPr/>
            </a:pPr>
            <a:r>
              <a:rPr lang="en-US" sz="1224" b="1">
                <a:solidFill>
                  <a:srgbClr val="FFFFFF"/>
                </a:solidFill>
                <a:latin typeface="Segoe UI Semilight"/>
              </a:rPr>
              <a:t>Web App</a:t>
            </a:r>
          </a:p>
        </p:txBody>
      </p:sp>
      <p:sp>
        <p:nvSpPr>
          <p:cNvPr id="85" name="Title 1">
            <a:extLst>
              <a:ext uri="{FF2B5EF4-FFF2-40B4-BE49-F238E27FC236}">
                <a16:creationId xmlns:a16="http://schemas.microsoft.com/office/drawing/2014/main" id="{03666BFB-DBC7-4508-A252-37E57FDDD69D}"/>
              </a:ext>
            </a:extLst>
          </p:cNvPr>
          <p:cNvSpPr txBox="1">
            <a:spLocks/>
          </p:cNvSpPr>
          <p:nvPr/>
        </p:nvSpPr>
        <p:spPr>
          <a:xfrm>
            <a:off x="274605" y="295683"/>
            <a:ext cx="11888046" cy="91745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49">
              <a:defRPr/>
            </a:pPr>
            <a:r>
              <a:rPr lang="en-US" dirty="0">
                <a:gradFill>
                  <a:gsLst>
                    <a:gs pos="1250">
                      <a:srgbClr val="353535"/>
                    </a:gs>
                    <a:gs pos="100000">
                      <a:srgbClr val="353535"/>
                    </a:gs>
                  </a:gsLst>
                  <a:lin ang="5400000" scaled="0"/>
                </a:gradFill>
                <a:latin typeface="Segoe UI Light"/>
              </a:rPr>
              <a:t>Example Architecture: SQL Server </a:t>
            </a:r>
            <a:r>
              <a:rPr lang="en-US" dirty="0" err="1">
                <a:gradFill>
                  <a:gsLst>
                    <a:gs pos="1250">
                      <a:srgbClr val="353535"/>
                    </a:gs>
                    <a:gs pos="100000">
                      <a:srgbClr val="353535"/>
                    </a:gs>
                  </a:gsLst>
                  <a:lin ang="5400000" scaled="0"/>
                </a:gradFill>
                <a:latin typeface="Segoe UI Light"/>
              </a:rPr>
              <a:t>AlwaysOn</a:t>
            </a:r>
            <a:r>
              <a:rPr lang="en-US" dirty="0">
                <a:gradFill>
                  <a:gsLst>
                    <a:gs pos="1250">
                      <a:srgbClr val="353535"/>
                    </a:gs>
                    <a:gs pos="100000">
                      <a:srgbClr val="353535"/>
                    </a:gs>
                  </a:gsLst>
                  <a:lin ang="5400000" scaled="0"/>
                </a:gradFill>
                <a:latin typeface="Segoe UI Light"/>
              </a:rPr>
              <a:t> </a:t>
            </a:r>
            <a:endParaRPr lang="en-US" sz="5999" spc="0" dirty="0">
              <a:gradFill>
                <a:gsLst>
                  <a:gs pos="2655">
                    <a:srgbClr val="0078D7"/>
                  </a:gs>
                  <a:gs pos="33000">
                    <a:srgbClr val="0078D7"/>
                  </a:gs>
                </a:gsLst>
                <a:lin ang="5400000" scaled="1"/>
              </a:gradFill>
              <a:latin typeface="Segoe UI Light"/>
              <a:cs typeface="Segoe UI Semilight" panose="020B0402040204020203" pitchFamily="34" charset="0"/>
            </a:endParaRPr>
          </a:p>
        </p:txBody>
      </p:sp>
      <p:sp>
        <p:nvSpPr>
          <p:cNvPr id="87" name="Freeform 14">
            <a:extLst>
              <a:ext uri="{FF2B5EF4-FFF2-40B4-BE49-F238E27FC236}">
                <a16:creationId xmlns:a16="http://schemas.microsoft.com/office/drawing/2014/main" id="{E3177F3E-0431-47F1-B374-730E719E8C61}"/>
              </a:ext>
            </a:extLst>
          </p:cNvPr>
          <p:cNvSpPr>
            <a:spLocks noEditPoints="1"/>
          </p:cNvSpPr>
          <p:nvPr/>
        </p:nvSpPr>
        <p:spPr bwMode="auto">
          <a:xfrm>
            <a:off x="3601953" y="1670607"/>
            <a:ext cx="760881" cy="505095"/>
          </a:xfrm>
          <a:custGeom>
            <a:avLst/>
            <a:gdLst>
              <a:gd name="T0" fmla="*/ 832 w 833"/>
              <a:gd name="T1" fmla="*/ 496 h 552"/>
              <a:gd name="T2" fmla="*/ 757 w 833"/>
              <a:gd name="T3" fmla="*/ 22 h 552"/>
              <a:gd name="T4" fmla="*/ 734 w 833"/>
              <a:gd name="T5" fmla="*/ 0 h 552"/>
              <a:gd name="T6" fmla="*/ 108 w 833"/>
              <a:gd name="T7" fmla="*/ 0 h 552"/>
              <a:gd name="T8" fmla="*/ 85 w 833"/>
              <a:gd name="T9" fmla="*/ 22 h 552"/>
              <a:gd name="T10" fmla="*/ 1 w 833"/>
              <a:gd name="T11" fmla="*/ 497 h 552"/>
              <a:gd name="T12" fmla="*/ 1 w 833"/>
              <a:gd name="T13" fmla="*/ 496 h 552"/>
              <a:gd name="T14" fmla="*/ 1 w 833"/>
              <a:gd name="T15" fmla="*/ 498 h 552"/>
              <a:gd name="T16" fmla="*/ 0 w 833"/>
              <a:gd name="T17" fmla="*/ 500 h 552"/>
              <a:gd name="T18" fmla="*/ 1 w 833"/>
              <a:gd name="T19" fmla="*/ 501 h 552"/>
              <a:gd name="T20" fmla="*/ 0 w 833"/>
              <a:gd name="T21" fmla="*/ 509 h 552"/>
              <a:gd name="T22" fmla="*/ 36 w 833"/>
              <a:gd name="T23" fmla="*/ 552 h 552"/>
              <a:gd name="T24" fmla="*/ 36 w 833"/>
              <a:gd name="T25" fmla="*/ 552 h 552"/>
              <a:gd name="T26" fmla="*/ 797 w 833"/>
              <a:gd name="T27" fmla="*/ 552 h 552"/>
              <a:gd name="T28" fmla="*/ 832 w 833"/>
              <a:gd name="T29" fmla="*/ 509 h 552"/>
              <a:gd name="T30" fmla="*/ 832 w 833"/>
              <a:gd name="T31" fmla="*/ 496 h 552"/>
              <a:gd name="T32" fmla="*/ 570 w 833"/>
              <a:gd name="T33" fmla="*/ 376 h 552"/>
              <a:gd name="T34" fmla="*/ 478 w 833"/>
              <a:gd name="T35" fmla="*/ 376 h 552"/>
              <a:gd name="T36" fmla="*/ 465 w 833"/>
              <a:gd name="T37" fmla="*/ 362 h 552"/>
              <a:gd name="T38" fmla="*/ 478 w 833"/>
              <a:gd name="T39" fmla="*/ 349 h 552"/>
              <a:gd name="T40" fmla="*/ 522 w 833"/>
              <a:gd name="T41" fmla="*/ 349 h 552"/>
              <a:gd name="T42" fmla="*/ 418 w 833"/>
              <a:gd name="T43" fmla="*/ 245 h 552"/>
              <a:gd name="T44" fmla="*/ 418 w 833"/>
              <a:gd name="T45" fmla="*/ 453 h 552"/>
              <a:gd name="T46" fmla="*/ 450 w 833"/>
              <a:gd name="T47" fmla="*/ 420 h 552"/>
              <a:gd name="T48" fmla="*/ 469 w 833"/>
              <a:gd name="T49" fmla="*/ 420 h 552"/>
              <a:gd name="T50" fmla="*/ 469 w 833"/>
              <a:gd name="T51" fmla="*/ 439 h 552"/>
              <a:gd name="T52" fmla="*/ 404 w 833"/>
              <a:gd name="T53" fmla="*/ 504 h 552"/>
              <a:gd name="T54" fmla="*/ 339 w 833"/>
              <a:gd name="T55" fmla="*/ 439 h 552"/>
              <a:gd name="T56" fmla="*/ 335 w 833"/>
              <a:gd name="T57" fmla="*/ 430 h 552"/>
              <a:gd name="T58" fmla="*/ 339 w 833"/>
              <a:gd name="T59" fmla="*/ 420 h 552"/>
              <a:gd name="T60" fmla="*/ 358 w 833"/>
              <a:gd name="T61" fmla="*/ 420 h 552"/>
              <a:gd name="T62" fmla="*/ 391 w 833"/>
              <a:gd name="T63" fmla="*/ 454 h 552"/>
              <a:gd name="T64" fmla="*/ 391 w 833"/>
              <a:gd name="T65" fmla="*/ 245 h 552"/>
              <a:gd name="T66" fmla="*/ 287 w 833"/>
              <a:gd name="T67" fmla="*/ 349 h 552"/>
              <a:gd name="T68" fmla="*/ 334 w 833"/>
              <a:gd name="T69" fmla="*/ 349 h 552"/>
              <a:gd name="T70" fmla="*/ 347 w 833"/>
              <a:gd name="T71" fmla="*/ 362 h 552"/>
              <a:gd name="T72" fmla="*/ 334 w 833"/>
              <a:gd name="T73" fmla="*/ 376 h 552"/>
              <a:gd name="T74" fmla="*/ 242 w 833"/>
              <a:gd name="T75" fmla="*/ 376 h 552"/>
              <a:gd name="T76" fmla="*/ 242 w 833"/>
              <a:gd name="T77" fmla="*/ 284 h 552"/>
              <a:gd name="T78" fmla="*/ 255 w 833"/>
              <a:gd name="T79" fmla="*/ 270 h 552"/>
              <a:gd name="T80" fmla="*/ 269 w 833"/>
              <a:gd name="T81" fmla="*/ 284 h 552"/>
              <a:gd name="T82" fmla="*/ 269 w 833"/>
              <a:gd name="T83" fmla="*/ 330 h 552"/>
              <a:gd name="T84" fmla="*/ 391 w 833"/>
              <a:gd name="T85" fmla="*/ 207 h 552"/>
              <a:gd name="T86" fmla="*/ 391 w 833"/>
              <a:gd name="T87" fmla="*/ 143 h 552"/>
              <a:gd name="T88" fmla="*/ 362 w 833"/>
              <a:gd name="T89" fmla="*/ 103 h 552"/>
              <a:gd name="T90" fmla="*/ 405 w 833"/>
              <a:gd name="T91" fmla="*/ 61 h 552"/>
              <a:gd name="T92" fmla="*/ 447 w 833"/>
              <a:gd name="T93" fmla="*/ 103 h 552"/>
              <a:gd name="T94" fmla="*/ 418 w 833"/>
              <a:gd name="T95" fmla="*/ 143 h 552"/>
              <a:gd name="T96" fmla="*/ 418 w 833"/>
              <a:gd name="T97" fmla="*/ 207 h 552"/>
              <a:gd name="T98" fmla="*/ 544 w 833"/>
              <a:gd name="T99" fmla="*/ 333 h 552"/>
              <a:gd name="T100" fmla="*/ 544 w 833"/>
              <a:gd name="T101" fmla="*/ 283 h 552"/>
              <a:gd name="T102" fmla="*/ 557 w 833"/>
              <a:gd name="T103" fmla="*/ 270 h 552"/>
              <a:gd name="T104" fmla="*/ 570 w 833"/>
              <a:gd name="T105" fmla="*/ 283 h 552"/>
              <a:gd name="T106" fmla="*/ 570 w 833"/>
              <a:gd name="T107" fmla="*/ 376 h 552"/>
              <a:gd name="T108" fmla="*/ 570 w 833"/>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3" h="552">
                <a:moveTo>
                  <a:pt x="832" y="496"/>
                </a:moveTo>
                <a:lnTo>
                  <a:pt x="757" y="22"/>
                </a:lnTo>
                <a:cubicBezTo>
                  <a:pt x="755" y="2"/>
                  <a:pt x="739" y="0"/>
                  <a:pt x="734" y="0"/>
                </a:cubicBezTo>
                <a:lnTo>
                  <a:pt x="108" y="0"/>
                </a:lnTo>
                <a:cubicBezTo>
                  <a:pt x="103" y="0"/>
                  <a:pt x="86" y="2"/>
                  <a:pt x="85" y="22"/>
                </a:cubicBezTo>
                <a:lnTo>
                  <a:pt x="1" y="497"/>
                </a:lnTo>
                <a:lnTo>
                  <a:pt x="1" y="496"/>
                </a:lnTo>
                <a:cubicBezTo>
                  <a:pt x="1" y="497"/>
                  <a:pt x="1" y="497"/>
                  <a:pt x="1" y="498"/>
                </a:cubicBezTo>
                <a:lnTo>
                  <a:pt x="0" y="500"/>
                </a:lnTo>
                <a:lnTo>
                  <a:pt x="1" y="501"/>
                </a:lnTo>
                <a:cubicBezTo>
                  <a:pt x="1" y="503"/>
                  <a:pt x="0" y="506"/>
                  <a:pt x="0" y="509"/>
                </a:cubicBezTo>
                <a:cubicBezTo>
                  <a:pt x="0" y="544"/>
                  <a:pt x="29" y="552"/>
                  <a:pt x="36" y="552"/>
                </a:cubicBezTo>
                <a:lnTo>
                  <a:pt x="36" y="552"/>
                </a:lnTo>
                <a:lnTo>
                  <a:pt x="797" y="552"/>
                </a:lnTo>
                <a:cubicBezTo>
                  <a:pt x="803" y="552"/>
                  <a:pt x="832" y="545"/>
                  <a:pt x="832" y="509"/>
                </a:cubicBezTo>
                <a:cubicBezTo>
                  <a:pt x="833" y="505"/>
                  <a:pt x="832" y="500"/>
                  <a:pt x="832" y="496"/>
                </a:cubicBezTo>
                <a:close/>
                <a:moveTo>
                  <a:pt x="570" y="376"/>
                </a:moveTo>
                <a:lnTo>
                  <a:pt x="478" y="376"/>
                </a:lnTo>
                <a:cubicBezTo>
                  <a:pt x="471" y="376"/>
                  <a:pt x="465" y="370"/>
                  <a:pt x="465" y="362"/>
                </a:cubicBezTo>
                <a:cubicBezTo>
                  <a:pt x="465" y="355"/>
                  <a:pt x="471" y="349"/>
                  <a:pt x="478" y="349"/>
                </a:cubicBezTo>
                <a:lnTo>
                  <a:pt x="522" y="349"/>
                </a:lnTo>
                <a:lnTo>
                  <a:pt x="418" y="245"/>
                </a:lnTo>
                <a:lnTo>
                  <a:pt x="418" y="453"/>
                </a:lnTo>
                <a:lnTo>
                  <a:pt x="450" y="420"/>
                </a:lnTo>
                <a:cubicBezTo>
                  <a:pt x="456" y="415"/>
                  <a:pt x="464" y="415"/>
                  <a:pt x="469" y="420"/>
                </a:cubicBezTo>
                <a:cubicBezTo>
                  <a:pt x="474" y="425"/>
                  <a:pt x="474" y="434"/>
                  <a:pt x="469" y="439"/>
                </a:cubicBezTo>
                <a:lnTo>
                  <a:pt x="404" y="504"/>
                </a:lnTo>
                <a:lnTo>
                  <a:pt x="339" y="439"/>
                </a:lnTo>
                <a:cubicBezTo>
                  <a:pt x="336" y="436"/>
                  <a:pt x="335" y="433"/>
                  <a:pt x="335" y="430"/>
                </a:cubicBezTo>
                <a:cubicBezTo>
                  <a:pt x="335" y="426"/>
                  <a:pt x="336" y="423"/>
                  <a:pt x="339" y="420"/>
                </a:cubicBezTo>
                <a:cubicBezTo>
                  <a:pt x="344" y="415"/>
                  <a:pt x="353" y="415"/>
                  <a:pt x="358" y="420"/>
                </a:cubicBezTo>
                <a:lnTo>
                  <a:pt x="391" y="454"/>
                </a:lnTo>
                <a:lnTo>
                  <a:pt x="391" y="245"/>
                </a:lnTo>
                <a:lnTo>
                  <a:pt x="287" y="349"/>
                </a:lnTo>
                <a:lnTo>
                  <a:pt x="334" y="349"/>
                </a:lnTo>
                <a:cubicBezTo>
                  <a:pt x="341" y="349"/>
                  <a:pt x="347" y="355"/>
                  <a:pt x="347" y="362"/>
                </a:cubicBezTo>
                <a:cubicBezTo>
                  <a:pt x="347" y="370"/>
                  <a:pt x="341" y="376"/>
                  <a:pt x="334" y="376"/>
                </a:cubicBezTo>
                <a:lnTo>
                  <a:pt x="242" y="376"/>
                </a:lnTo>
                <a:lnTo>
                  <a:pt x="242" y="284"/>
                </a:lnTo>
                <a:cubicBezTo>
                  <a:pt x="242" y="276"/>
                  <a:pt x="248" y="270"/>
                  <a:pt x="255" y="270"/>
                </a:cubicBezTo>
                <a:cubicBezTo>
                  <a:pt x="263" y="270"/>
                  <a:pt x="269" y="276"/>
                  <a:pt x="269" y="284"/>
                </a:cubicBezTo>
                <a:lnTo>
                  <a:pt x="269" y="330"/>
                </a:lnTo>
                <a:lnTo>
                  <a:pt x="391" y="207"/>
                </a:lnTo>
                <a:lnTo>
                  <a:pt x="391" y="143"/>
                </a:lnTo>
                <a:cubicBezTo>
                  <a:pt x="375" y="137"/>
                  <a:pt x="362" y="121"/>
                  <a:pt x="362" y="103"/>
                </a:cubicBezTo>
                <a:cubicBezTo>
                  <a:pt x="362" y="79"/>
                  <a:pt x="381" y="61"/>
                  <a:pt x="405" y="61"/>
                </a:cubicBezTo>
                <a:cubicBezTo>
                  <a:pt x="428" y="61"/>
                  <a:pt x="447" y="79"/>
                  <a:pt x="447" y="103"/>
                </a:cubicBezTo>
                <a:cubicBezTo>
                  <a:pt x="447" y="121"/>
                  <a:pt x="435" y="137"/>
                  <a:pt x="418" y="143"/>
                </a:cubicBezTo>
                <a:lnTo>
                  <a:pt x="418" y="207"/>
                </a:lnTo>
                <a:lnTo>
                  <a:pt x="544" y="333"/>
                </a:lnTo>
                <a:lnTo>
                  <a:pt x="544" y="283"/>
                </a:lnTo>
                <a:cubicBezTo>
                  <a:pt x="544" y="276"/>
                  <a:pt x="550" y="270"/>
                  <a:pt x="557" y="270"/>
                </a:cubicBezTo>
                <a:cubicBezTo>
                  <a:pt x="564" y="270"/>
                  <a:pt x="570" y="276"/>
                  <a:pt x="570" y="283"/>
                </a:cubicBezTo>
                <a:lnTo>
                  <a:pt x="570" y="376"/>
                </a:lnTo>
                <a:lnTo>
                  <a:pt x="570" y="376"/>
                </a:lnTo>
                <a:close/>
              </a:path>
            </a:pathLst>
          </a:custGeom>
          <a:noFill/>
          <a:ln w="12700">
            <a:solidFill>
              <a:schemeClr val="bg1"/>
            </a:solidFill>
            <a:prstDash val="solid"/>
            <a:round/>
            <a:headEnd/>
            <a:tailEnd/>
          </a:ln>
        </p:spPr>
        <p:txBody>
          <a:bodyPr vert="horz" wrap="square" lIns="93248" tIns="46624" rIns="93248" bIns="46624" numCol="1" anchor="t" anchorCtr="0" compatLnSpc="1">
            <a:prstTxWarp prst="textNoShape">
              <a:avLst/>
            </a:prstTxWarp>
          </a:bodyPr>
          <a:lstStyle/>
          <a:p>
            <a:pPr defTabSz="932504">
              <a:defRPr/>
            </a:pPr>
            <a:endParaRPr lang="en-US" sz="1836">
              <a:solidFill>
                <a:srgbClr val="353535"/>
              </a:solidFill>
              <a:latin typeface="Segoe UI Semilight"/>
            </a:endParaRPr>
          </a:p>
        </p:txBody>
      </p:sp>
      <p:sp>
        <p:nvSpPr>
          <p:cNvPr id="95" name="TextBox 94">
            <a:extLst>
              <a:ext uri="{FF2B5EF4-FFF2-40B4-BE49-F238E27FC236}">
                <a16:creationId xmlns:a16="http://schemas.microsoft.com/office/drawing/2014/main" id="{35A62502-F2DF-4EE3-A0B7-7F5A56B9AD63}"/>
              </a:ext>
            </a:extLst>
          </p:cNvPr>
          <p:cNvSpPr txBox="1"/>
          <p:nvPr/>
        </p:nvSpPr>
        <p:spPr>
          <a:xfrm>
            <a:off x="8707465" y="2204583"/>
            <a:ext cx="3616313" cy="3185080"/>
          </a:xfrm>
          <a:prstGeom prst="rect">
            <a:avLst/>
          </a:prstGeom>
          <a:noFill/>
        </p:spPr>
        <p:txBody>
          <a:bodyPr wrap="square" lIns="182857" tIns="146285" rIns="182857" bIns="146285" rtlCol="0">
            <a:spAutoFit/>
          </a:bodyPr>
          <a:lstStyle/>
          <a:p>
            <a:pPr marL="342866" indent="-342866" defTabSz="932649">
              <a:lnSpc>
                <a:spcPct val="90000"/>
              </a:lnSpc>
              <a:spcAft>
                <a:spcPts val="600"/>
              </a:spcAft>
              <a:buFont typeface="Arial" panose="020B0604020202020204" pitchFamily="34" charset="0"/>
              <a:buChar char="•"/>
              <a:defRPr/>
            </a:pPr>
            <a:r>
              <a:rPr lang="en-US" sz="2400" dirty="0">
                <a:solidFill>
                  <a:srgbClr val="FFFFFF"/>
                </a:solidFill>
                <a:latin typeface="Segoe UI Semilight"/>
              </a:rPr>
              <a:t>Stateless front end deployed across 2 AZs</a:t>
            </a:r>
          </a:p>
          <a:p>
            <a:pPr marL="342866" indent="-342866" defTabSz="932649">
              <a:lnSpc>
                <a:spcPct val="90000"/>
              </a:lnSpc>
              <a:spcAft>
                <a:spcPts val="600"/>
              </a:spcAft>
              <a:buFont typeface="Arial" panose="020B0604020202020204" pitchFamily="34" charset="0"/>
              <a:buChar char="•"/>
              <a:defRPr/>
            </a:pPr>
            <a:r>
              <a:rPr lang="en-US" sz="2400" dirty="0">
                <a:solidFill>
                  <a:srgbClr val="FFFFFF"/>
                </a:solidFill>
                <a:latin typeface="Segoe UI Semilight"/>
              </a:rPr>
              <a:t>SQL </a:t>
            </a:r>
            <a:r>
              <a:rPr lang="en-US" sz="2400" dirty="0" err="1">
                <a:solidFill>
                  <a:srgbClr val="FFFFFF"/>
                </a:solidFill>
                <a:latin typeface="Segoe UI Semilight"/>
              </a:rPr>
              <a:t>AlwaysOn</a:t>
            </a:r>
            <a:r>
              <a:rPr lang="en-US" sz="2400" dirty="0">
                <a:solidFill>
                  <a:srgbClr val="FFFFFF"/>
                </a:solidFill>
                <a:latin typeface="Segoe UI Semilight"/>
              </a:rPr>
              <a:t> with witness in AZ3</a:t>
            </a:r>
          </a:p>
          <a:p>
            <a:pPr marL="342866" indent="-342866" defTabSz="932649">
              <a:lnSpc>
                <a:spcPct val="90000"/>
              </a:lnSpc>
              <a:spcAft>
                <a:spcPts val="600"/>
              </a:spcAft>
              <a:buFont typeface="Arial" panose="020B0604020202020204" pitchFamily="34" charset="0"/>
              <a:buChar char="•"/>
              <a:defRPr/>
            </a:pPr>
            <a:r>
              <a:rPr lang="en-US" sz="2400" dirty="0">
                <a:solidFill>
                  <a:srgbClr val="FFFFFF"/>
                </a:solidFill>
                <a:latin typeface="Segoe UI Semilight"/>
              </a:rPr>
              <a:t>Zone redundant Load balancer</a:t>
            </a:r>
          </a:p>
          <a:p>
            <a:pPr defTabSz="932649">
              <a:lnSpc>
                <a:spcPct val="90000"/>
              </a:lnSpc>
              <a:spcAft>
                <a:spcPts val="600"/>
              </a:spcAft>
              <a:defRPr/>
            </a:pPr>
            <a:endParaRPr lang="en-US" sz="2400" dirty="0">
              <a:solidFill>
                <a:srgbClr val="FFFFFF"/>
              </a:solidFill>
              <a:latin typeface="Segoe UI Semilight"/>
            </a:endParaRPr>
          </a:p>
        </p:txBody>
      </p:sp>
      <p:cxnSp>
        <p:nvCxnSpPr>
          <p:cNvPr id="62" name="Straight Arrow Connector 61">
            <a:extLst>
              <a:ext uri="{FF2B5EF4-FFF2-40B4-BE49-F238E27FC236}">
                <a16:creationId xmlns:a16="http://schemas.microsoft.com/office/drawing/2014/main" id="{E8A6FC93-F813-4746-8D2D-F0651854AB4F}"/>
              </a:ext>
            </a:extLst>
          </p:cNvPr>
          <p:cNvCxnSpPr>
            <a:cxnSpLocks/>
          </p:cNvCxnSpPr>
          <p:nvPr/>
        </p:nvCxnSpPr>
        <p:spPr>
          <a:xfrm>
            <a:off x="2027120" y="5400450"/>
            <a:ext cx="1338221" cy="0"/>
          </a:xfrm>
          <a:prstGeom prst="straightConnector1">
            <a:avLst/>
          </a:prstGeom>
          <a:ln>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836768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5851275" cy="5570756"/>
          </a:xfrm>
        </p:spPr>
        <p:txBody>
          <a:bodyPr/>
          <a:lstStyle/>
          <a:p>
            <a:pPr marL="0" indent="0">
              <a:buNone/>
            </a:pPr>
            <a:r>
              <a:rPr lang="en-US" dirty="0">
                <a:solidFill>
                  <a:schemeClr val="accent1"/>
                </a:solidFill>
              </a:rPr>
              <a:t>Application Design</a:t>
            </a:r>
          </a:p>
          <a:p>
            <a:pPr marL="342900" lvl="1" indent="-342900" defTabSz="932594"/>
            <a:r>
              <a:rPr lang="en-US" sz="2000" dirty="0"/>
              <a:t>Avoid any single point of failure</a:t>
            </a:r>
          </a:p>
          <a:p>
            <a:pPr marL="342900" lvl="1" indent="-342900" defTabSz="932594"/>
            <a:r>
              <a:rPr lang="en-US" sz="2000" dirty="0"/>
              <a:t>Deploy multiple instances of services</a:t>
            </a:r>
          </a:p>
          <a:p>
            <a:pPr marL="342900" lvl="1" indent="-342900" defTabSz="932594"/>
            <a:r>
              <a:rPr lang="en-US" sz="2000" dirty="0"/>
              <a:t>Use Availability sets per application tier</a:t>
            </a:r>
          </a:p>
          <a:p>
            <a:pPr marL="342900" lvl="1" indent="-342900" defTabSz="932594"/>
            <a:r>
              <a:rPr lang="en-US" sz="2000" dirty="0"/>
              <a:t>Use Load Balancing to distribute</a:t>
            </a:r>
          </a:p>
          <a:p>
            <a:pPr marL="342900" lvl="1" indent="-342900" defTabSz="932594"/>
            <a:r>
              <a:rPr lang="en-US" sz="2000" dirty="0"/>
              <a:t>Use multiple instances of Application Gateways</a:t>
            </a:r>
          </a:p>
          <a:p>
            <a:pPr marL="342900" lvl="1" indent="-342900" defTabSz="932594"/>
            <a:r>
              <a:rPr lang="en-US" sz="2000" dirty="0"/>
              <a:t>Deploy application across multiple regions</a:t>
            </a:r>
          </a:p>
          <a:p>
            <a:pPr marL="342900" lvl="1" indent="-342900" defTabSz="932594"/>
            <a:r>
              <a:rPr lang="en-US" sz="2000" dirty="0"/>
              <a:t>Use Traffic Manager to route different regions </a:t>
            </a:r>
          </a:p>
          <a:p>
            <a:pPr marL="342900" lvl="1" indent="-342900" defTabSz="932594"/>
            <a:endParaRPr lang="en-US" sz="2000" dirty="0"/>
          </a:p>
          <a:p>
            <a:pPr marL="0" indent="0">
              <a:buNone/>
            </a:pPr>
            <a:r>
              <a:rPr lang="en-US" dirty="0">
                <a:solidFill>
                  <a:schemeClr val="accent1"/>
                </a:solidFill>
              </a:rPr>
              <a:t>Security</a:t>
            </a:r>
          </a:p>
          <a:p>
            <a:pPr marL="342900" lvl="1" indent="-342900" defTabSz="932594"/>
            <a:r>
              <a:rPr lang="en-US" sz="2000" dirty="0"/>
              <a:t>Implement Least Privilege</a:t>
            </a:r>
          </a:p>
          <a:p>
            <a:pPr marL="342900" lvl="1" indent="-342900" defTabSz="932594"/>
            <a:r>
              <a:rPr lang="en-US" sz="2000" dirty="0"/>
              <a:t> WAFs, NSGs,  multiple VMs behind load balancer with public IP</a:t>
            </a:r>
          </a:p>
          <a:p>
            <a:pPr marL="0" lvl="1" indent="0" defTabSz="932594">
              <a:buNone/>
            </a:pPr>
            <a:r>
              <a:rPr lang="en-US" sz="2000" dirty="0"/>
              <a:t>See </a:t>
            </a:r>
            <a:r>
              <a:rPr lang="en-US" sz="2000" dirty="0">
                <a:hlinkClick r:id="rId3"/>
              </a:rPr>
              <a:t>Design Review Checklist</a:t>
            </a:r>
            <a:endParaRPr lang="en-US" sz="2000" dirty="0"/>
          </a:p>
        </p:txBody>
      </p:sp>
      <p:sp>
        <p:nvSpPr>
          <p:cNvPr id="3" name="Title 2"/>
          <p:cNvSpPr>
            <a:spLocks noGrp="1"/>
          </p:cNvSpPr>
          <p:nvPr>
            <p:ph type="title"/>
          </p:nvPr>
        </p:nvSpPr>
        <p:spPr/>
        <p:txBody>
          <a:bodyPr/>
          <a:lstStyle/>
          <a:p>
            <a:r>
              <a:rPr lang="en-US" sz="4800" dirty="0"/>
              <a:t>Design Review Checklist</a:t>
            </a:r>
          </a:p>
        </p:txBody>
      </p:sp>
    </p:spTree>
    <p:extLst>
      <p:ext uri="{BB962C8B-B14F-4D97-AF65-F5344CB8AC3E}">
        <p14:creationId xmlns:p14="http://schemas.microsoft.com/office/powerpoint/2010/main" val="20417618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8244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7527675" cy="4610493"/>
          </a:xfrm>
        </p:spPr>
        <p:txBody>
          <a:bodyPr/>
          <a:lstStyle/>
          <a:p>
            <a:pPr marL="0" indent="0">
              <a:buNone/>
            </a:pPr>
            <a:r>
              <a:rPr lang="en-US" b="1" dirty="0">
                <a:solidFill>
                  <a:schemeClr val="accent1"/>
                </a:solidFill>
              </a:rPr>
              <a:t>Outside</a:t>
            </a:r>
            <a:r>
              <a:rPr lang="en-US" dirty="0">
                <a:solidFill>
                  <a:schemeClr val="accent1"/>
                </a:solidFill>
              </a:rPr>
              <a:t> the Box</a:t>
            </a:r>
          </a:p>
          <a:p>
            <a:pPr marL="342900" lvl="1" indent="-342900" defTabSz="932594"/>
            <a:r>
              <a:rPr lang="en-US" sz="2000" dirty="0"/>
              <a:t>Think about the things you see in the portal</a:t>
            </a:r>
          </a:p>
          <a:p>
            <a:pPr marL="342900" lvl="1" indent="-342900" defTabSz="932594"/>
            <a:r>
              <a:rPr lang="en-US" sz="2000" dirty="0"/>
              <a:t>The blades, attributes, diagnostics, alerts etc.</a:t>
            </a:r>
          </a:p>
          <a:p>
            <a:pPr marL="342900" lvl="1" indent="-342900" defTabSz="932594"/>
            <a:r>
              <a:rPr lang="en-US" sz="2000" dirty="0"/>
              <a:t>RBAC Matters here</a:t>
            </a:r>
          </a:p>
          <a:p>
            <a:pPr marL="0" indent="0">
              <a:buNone/>
            </a:pPr>
            <a:r>
              <a:rPr lang="en-US" b="1" dirty="0">
                <a:solidFill>
                  <a:schemeClr val="accent1"/>
                </a:solidFill>
              </a:rPr>
              <a:t>Inside</a:t>
            </a:r>
            <a:r>
              <a:rPr lang="en-US" dirty="0">
                <a:solidFill>
                  <a:schemeClr val="accent1"/>
                </a:solidFill>
              </a:rPr>
              <a:t> the Box</a:t>
            </a:r>
          </a:p>
          <a:p>
            <a:pPr marL="342900" lvl="1" indent="-342900" defTabSz="932594"/>
            <a:r>
              <a:rPr lang="en-US" sz="2000" dirty="0"/>
              <a:t>Once you create a VM in Azure</a:t>
            </a:r>
          </a:p>
          <a:p>
            <a:pPr marL="342900" lvl="1" indent="-342900" defTabSz="932594"/>
            <a:r>
              <a:rPr lang="en-US" sz="2000" dirty="0"/>
              <a:t>Then you login to it</a:t>
            </a:r>
          </a:p>
          <a:p>
            <a:pPr marL="511175" lvl="2" indent="-342900" defTabSz="932594"/>
            <a:r>
              <a:rPr lang="en-US" sz="1600" dirty="0"/>
              <a:t>rights determined by directory or local</a:t>
            </a:r>
          </a:p>
          <a:p>
            <a:pPr marL="342900" lvl="1" indent="-342900" defTabSz="932594"/>
            <a:r>
              <a:rPr lang="en-US" sz="2000" dirty="0"/>
              <a:t>NOW you are inside the box</a:t>
            </a:r>
          </a:p>
          <a:p>
            <a:pPr marL="342900" lvl="1" indent="-342900" defTabSz="932594"/>
            <a:r>
              <a:rPr lang="en-US" sz="2000" dirty="0"/>
              <a:t>Anything you configure, install are processes you own</a:t>
            </a:r>
          </a:p>
          <a:p>
            <a:pPr marL="342900" lvl="1" indent="-342900" defTabSz="932594"/>
            <a:r>
              <a:rPr lang="en-US" sz="2000" dirty="0"/>
              <a:t>Same as you would do in Virtual or Physical Machines</a:t>
            </a:r>
          </a:p>
          <a:p>
            <a:pPr marL="342900" lvl="1" indent="-342900" defTabSz="932594"/>
            <a:r>
              <a:rPr lang="en-US" sz="2000" dirty="0"/>
              <a:t>VM Extensions preferred approach w/scripting</a:t>
            </a:r>
          </a:p>
        </p:txBody>
      </p:sp>
      <p:sp>
        <p:nvSpPr>
          <p:cNvPr id="3" name="Title 2"/>
          <p:cNvSpPr>
            <a:spLocks noGrp="1"/>
          </p:cNvSpPr>
          <p:nvPr>
            <p:ph type="title"/>
          </p:nvPr>
        </p:nvSpPr>
        <p:spPr/>
        <p:txBody>
          <a:bodyPr/>
          <a:lstStyle/>
          <a:p>
            <a:r>
              <a:rPr lang="en-US" sz="4800" dirty="0"/>
              <a:t>Inside or Outside the Box</a:t>
            </a:r>
            <a:endParaRPr lang="en-US" dirty="0"/>
          </a:p>
        </p:txBody>
      </p:sp>
      <p:pic>
        <p:nvPicPr>
          <p:cNvPr id="5" name="Picture 4">
            <a:extLst>
              <a:ext uri="{FF2B5EF4-FFF2-40B4-BE49-F238E27FC236}">
                <a16:creationId xmlns:a16="http://schemas.microsoft.com/office/drawing/2014/main" id="{8630C0AC-531A-4764-AAFD-554835D05A68}"/>
              </a:ext>
            </a:extLst>
          </p:cNvPr>
          <p:cNvPicPr>
            <a:picLocks noChangeAspect="1"/>
          </p:cNvPicPr>
          <p:nvPr/>
        </p:nvPicPr>
        <p:blipFill>
          <a:blip r:embed="rId3"/>
          <a:stretch>
            <a:fillRect/>
          </a:stretch>
        </p:blipFill>
        <p:spPr>
          <a:xfrm>
            <a:off x="7032564" y="1350359"/>
            <a:ext cx="5541759" cy="4293806"/>
          </a:xfrm>
          <a:prstGeom prst="rect">
            <a:avLst/>
          </a:prstGeom>
        </p:spPr>
      </p:pic>
    </p:spTree>
    <p:extLst>
      <p:ext uri="{BB962C8B-B14F-4D97-AF65-F5344CB8AC3E}">
        <p14:creationId xmlns:p14="http://schemas.microsoft.com/office/powerpoint/2010/main" val="215906269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txBox="1">
            <a:spLocks/>
          </p:cNvSpPr>
          <p:nvPr/>
        </p:nvSpPr>
        <p:spPr>
          <a:xfrm>
            <a:off x="366169" y="2659062"/>
            <a:ext cx="8442075" cy="1098762"/>
          </a:xfrm>
          <a:prstGeom prst="rect">
            <a:avLst/>
          </a:prstGeom>
          <a:noFill/>
        </p:spPr>
        <p:txBody>
          <a:bodyPr vert="horz" wrap="square" lIns="146304" tIns="91440" rIns="146304" bIns="91440" rtlCol="0" anchor="t" anchorCtr="0">
            <a:spAutoFit/>
          </a:bodyPr>
          <a:lstStyle>
            <a:lvl1pPr algn="l" defTabSz="932649" rtl="0" eaLnBrk="1" latinLnBrk="0" hangingPunct="1">
              <a:lnSpc>
                <a:spcPct val="90000"/>
              </a:lnSpc>
              <a:spcBef>
                <a:spcPct val="0"/>
              </a:spcBef>
              <a:buNone/>
              <a:defRPr lang="en-US" sz="7199"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lvl="0"/>
            <a:r>
              <a:rPr lang="en-CA" sz="6600">
                <a:gradFill>
                  <a:gsLst>
                    <a:gs pos="100000">
                      <a:srgbClr val="FFFFFF"/>
                    </a:gs>
                    <a:gs pos="0">
                      <a:srgbClr val="FFFFFF"/>
                    </a:gs>
                  </a:gsLst>
                  <a:lin ang="5400000" scaled="0"/>
                </a:gradFill>
              </a:rPr>
              <a:t>Key decisions</a:t>
            </a:r>
            <a:endParaRPr kumimoji="0" lang="en-CA" sz="7199" b="0" i="0" u="none" strike="noStrike" kern="1200" cap="none" spc="-100" normalizeH="0" baseline="0" noProof="0">
              <a:ln w="3175">
                <a:noFill/>
              </a:ln>
              <a:gradFill>
                <a:gsLst>
                  <a:gs pos="100000">
                    <a:srgbClr val="FFFFFF"/>
                  </a:gs>
                  <a:gs pos="0">
                    <a:srgbClr val="FFFFFF"/>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61074810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557860" y="1973262"/>
          <a:ext cx="8229950" cy="4724400"/>
        </p:xfrm>
        <a:graphic>
          <a:graphicData uri="http://schemas.openxmlformats.org/drawingml/2006/table">
            <a:tbl>
              <a:tblPr firstRow="1" bandRow="1">
                <a:tableStyleId>{5C22544A-7EE6-4342-B048-85BDC9FD1C3A}</a:tableStyleId>
              </a:tblPr>
              <a:tblGrid>
                <a:gridCol w="2343250">
                  <a:extLst>
                    <a:ext uri="{9D8B030D-6E8A-4147-A177-3AD203B41FA5}">
                      <a16:colId xmlns:a16="http://schemas.microsoft.com/office/drawing/2014/main" val="20000"/>
                    </a:ext>
                  </a:extLst>
                </a:gridCol>
                <a:gridCol w="5886700">
                  <a:extLst>
                    <a:ext uri="{9D8B030D-6E8A-4147-A177-3AD203B41FA5}">
                      <a16:colId xmlns:a16="http://schemas.microsoft.com/office/drawing/2014/main" val="20001"/>
                    </a:ext>
                  </a:extLst>
                </a:gridCol>
              </a:tblGrid>
              <a:tr h="533400">
                <a:tc>
                  <a:txBody>
                    <a:bodyPr/>
                    <a:lstStyle/>
                    <a:p>
                      <a:pPr algn="ctr"/>
                      <a:r>
                        <a:rPr lang="en-US" sz="1800" b="0">
                          <a:latin typeface="Segoe UI Semibold" panose="020B0702040204020203" pitchFamily="34" charset="0"/>
                          <a:cs typeface="Segoe UI Semibold" panose="020B0702040204020203" pitchFamily="34" charset="0"/>
                        </a:rPr>
                        <a:t>Considerations</a:t>
                      </a:r>
                    </a:p>
                  </a:txBody>
                  <a:tcPr marL="68583" marR="68583" marT="34291" marB="34291"/>
                </a:tc>
                <a:tc>
                  <a:txBody>
                    <a:bodyPr/>
                    <a:lstStyle/>
                    <a:p>
                      <a:pPr algn="ctr"/>
                      <a:r>
                        <a:rPr lang="en-US" sz="1800" b="0">
                          <a:latin typeface="Segoe UI Semibold" panose="020B0702040204020203" pitchFamily="34" charset="0"/>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10000"/>
                  </a:ext>
                </a:extLst>
              </a:tr>
              <a:tr h="897386">
                <a:tc>
                  <a:txBody>
                    <a:bodyPr/>
                    <a:lstStyle/>
                    <a:p>
                      <a:pPr lvl="0" algn="ctr"/>
                      <a:r>
                        <a:rPr lang="en-US" sz="1600" b="0" kern="1200">
                          <a:solidFill>
                            <a:schemeClr val="dk1"/>
                          </a:solidFill>
                          <a:effectLst/>
                          <a:latin typeface="Segoe UI Semibold" panose="020B0702040204020203" pitchFamily="34" charset="0"/>
                          <a:ea typeface="+mn-ea"/>
                          <a:cs typeface="Segoe UI Semibold" panose="020B0702040204020203" pitchFamily="34" charset="0"/>
                        </a:rPr>
                        <a:t>CPU</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800" baseline="0"/>
                        <a:t>Decide on </a:t>
                      </a:r>
                      <a:r>
                        <a:rPr lang="en-US" sz="1800" kern="1200">
                          <a:solidFill>
                            <a:schemeClr val="dk1"/>
                          </a:solidFill>
                          <a:effectLst/>
                          <a:latin typeface="+mn-lt"/>
                          <a:ea typeface="+mn-ea"/>
                          <a:cs typeface="+mn-cs"/>
                        </a:rPr>
                        <a:t>Standard tier VMs when expected to have   slightly better CPU performance than basic tier VMs.</a:t>
                      </a:r>
                      <a:endParaRPr lang="en-US" sz="1800"/>
                    </a:p>
                  </a:txBody>
                  <a:tcPr marL="68583" marR="68583" marT="34291" marB="34291"/>
                </a:tc>
                <a:extLst>
                  <a:ext uri="{0D108BD9-81ED-4DB2-BD59-A6C34878D82A}">
                    <a16:rowId xmlns:a16="http://schemas.microsoft.com/office/drawing/2014/main" val="10001"/>
                  </a:ext>
                </a:extLst>
              </a:tr>
              <a:tr h="1440182">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AU" sz="1600" b="0" kern="1200">
                          <a:solidFill>
                            <a:schemeClr val="dk1"/>
                          </a:solidFill>
                          <a:effectLst/>
                          <a:latin typeface="Segoe UI Semibold" panose="020B0702040204020203" pitchFamily="34" charset="0"/>
                          <a:ea typeface="+mn-ea"/>
                          <a:cs typeface="Segoe UI Semibold" panose="020B0702040204020203" pitchFamily="34" charset="0"/>
                        </a:rPr>
                        <a:t>Disk</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800" kern="1200">
                          <a:solidFill>
                            <a:schemeClr val="dk1"/>
                          </a:solidFill>
                          <a:effectLst/>
                          <a:latin typeface="+mn-lt"/>
                          <a:ea typeface="+mn-ea"/>
                          <a:cs typeface="+mn-cs"/>
                        </a:rPr>
                        <a:t>Data disk IOPS for basic tier VMs is 300 IOPS, which is slightly lower than standard tier VM which has 500 IOPS data disk. Decide whether IOPS</a:t>
                      </a:r>
                      <a:r>
                        <a:rPr lang="en-US" sz="1800" kern="1200" baseline="0">
                          <a:solidFill>
                            <a:schemeClr val="dk1"/>
                          </a:solidFill>
                          <a:effectLst/>
                          <a:latin typeface="+mn-lt"/>
                          <a:ea typeface="+mn-ea"/>
                          <a:cs typeface="+mn-cs"/>
                        </a:rPr>
                        <a:t> greater than 300 is needed. For higher IOPS, standard Tier DS VMs start at 3200.</a:t>
                      </a:r>
                      <a:endParaRPr lang="en-US" sz="1800"/>
                    </a:p>
                  </a:txBody>
                  <a:tcPr marL="68583" marR="68583" marT="34291" marB="34291"/>
                </a:tc>
                <a:extLst>
                  <a:ext uri="{0D108BD9-81ED-4DB2-BD59-A6C34878D82A}">
                    <a16:rowId xmlns:a16="http://schemas.microsoft.com/office/drawing/2014/main" val="10002"/>
                  </a:ext>
                </a:extLst>
              </a:tr>
              <a:tr h="1165862">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Features</a:t>
                      </a:r>
                    </a:p>
                  </a:txBody>
                  <a:tcPr marL="68583" marR="68583" marT="34291" marB="34291"/>
                </a:tc>
                <a:tc>
                  <a:txBody>
                    <a:bodyPr/>
                    <a:lstStyle/>
                    <a:p>
                      <a:pPr marL="285750" indent="-285750" algn="l">
                        <a:buFont typeface="Arial" panose="020B0604020202020204" pitchFamily="34" charset="0"/>
                        <a:buChar char="•"/>
                      </a:pPr>
                      <a:r>
                        <a:rPr lang="en-US" sz="1800" kern="1200">
                          <a:solidFill>
                            <a:schemeClr val="dk1"/>
                          </a:solidFill>
                          <a:effectLst/>
                          <a:latin typeface="+mn-lt"/>
                          <a:ea typeface="+mn-ea"/>
                          <a:cs typeface="+mn-cs"/>
                        </a:rPr>
                        <a:t>Decide</a:t>
                      </a:r>
                      <a:r>
                        <a:rPr lang="en-US" sz="1800" kern="1200" baseline="0">
                          <a:solidFill>
                            <a:schemeClr val="dk1"/>
                          </a:solidFill>
                          <a:effectLst/>
                          <a:latin typeface="+mn-lt"/>
                          <a:ea typeface="+mn-ea"/>
                          <a:cs typeface="+mn-cs"/>
                        </a:rPr>
                        <a:t> whether the workloads will need support for load balancing or auto-scaling. </a:t>
                      </a:r>
                      <a:r>
                        <a:rPr lang="en-US" sz="1800" kern="1200">
                          <a:solidFill>
                            <a:schemeClr val="dk1"/>
                          </a:solidFill>
                          <a:effectLst/>
                          <a:latin typeface="+mn-lt"/>
                          <a:ea typeface="+mn-ea"/>
                          <a:cs typeface="+mn-cs"/>
                        </a:rPr>
                        <a:t>Basic tier VMs do not support features such as load balancing or auto-scaling.</a:t>
                      </a:r>
                      <a:endParaRPr lang="en-US" sz="1800"/>
                    </a:p>
                  </a:txBody>
                  <a:tcPr marL="68583" marR="68583" marT="34291" marB="34291"/>
                </a:tc>
                <a:extLst>
                  <a:ext uri="{0D108BD9-81ED-4DB2-BD59-A6C34878D82A}">
                    <a16:rowId xmlns:a16="http://schemas.microsoft.com/office/drawing/2014/main" val="10003"/>
                  </a:ext>
                </a:extLst>
              </a:tr>
              <a:tr h="687570">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Availability</a:t>
                      </a:r>
                    </a:p>
                  </a:txBody>
                  <a:tcPr marL="68583" marR="68583" marT="34291" marB="34291"/>
                </a:tc>
                <a:tc>
                  <a:txBody>
                    <a:bodyPr/>
                    <a:lstStyle/>
                    <a:p>
                      <a:pPr marL="285750" indent="-285750" algn="l">
                        <a:buFont typeface="Arial" panose="020B0604020202020204" pitchFamily="34" charset="0"/>
                        <a:buChar char="•"/>
                      </a:pPr>
                      <a:r>
                        <a:rPr lang="en-US" sz="1800"/>
                        <a:t>Standard Tier VMs are available on all sizes</a:t>
                      </a:r>
                      <a:r>
                        <a:rPr lang="en-US" sz="1800" baseline="0"/>
                        <a:t> instances.</a:t>
                      </a:r>
                      <a:endParaRPr lang="en-US" sz="1800"/>
                    </a:p>
                  </a:txBody>
                  <a:tcPr marL="68583" marR="68583" marT="34291" marB="34291"/>
                </a:tc>
                <a:extLst>
                  <a:ext uri="{0D108BD9-81ED-4DB2-BD59-A6C34878D82A}">
                    <a16:rowId xmlns:a16="http://schemas.microsoft.com/office/drawing/2014/main" val="10004"/>
                  </a:ext>
                </a:extLst>
              </a:tr>
            </a:tbl>
          </a:graphicData>
        </a:graphic>
      </p:graphicFrame>
      <p:sp>
        <p:nvSpPr>
          <p:cNvPr id="8"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Virtual Machine – Sizes and tiers decisions</a:t>
            </a:r>
          </a:p>
        </p:txBody>
      </p:sp>
      <p:sp>
        <p:nvSpPr>
          <p:cNvPr id="9" name="Text Placeholder 1"/>
          <p:cNvSpPr txBox="1">
            <a:spLocks/>
          </p:cNvSpPr>
          <p:nvPr/>
        </p:nvSpPr>
        <p:spPr>
          <a:xfrm>
            <a:off x="442368" y="1212851"/>
            <a:ext cx="11702552" cy="1217611"/>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a:solidFill>
                  <a:schemeClr val="accent1"/>
                </a:solidFill>
              </a:rPr>
              <a:t>Choosing between Basic and Standard Tier VMs</a:t>
            </a:r>
          </a:p>
        </p:txBody>
      </p:sp>
    </p:spTree>
    <p:extLst>
      <p:ext uri="{BB962C8B-B14F-4D97-AF65-F5344CB8AC3E}">
        <p14:creationId xmlns:p14="http://schemas.microsoft.com/office/powerpoint/2010/main" val="84143754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163750973"/>
              </p:ext>
            </p:extLst>
          </p:nvPr>
        </p:nvGraphicFramePr>
        <p:xfrm>
          <a:off x="589034" y="1419080"/>
          <a:ext cx="11201400" cy="4725376"/>
        </p:xfrm>
        <a:graphic>
          <a:graphicData uri="http://schemas.openxmlformats.org/drawingml/2006/table">
            <a:tbl>
              <a:tblPr firstRow="1" bandRow="1">
                <a:tableStyleId>{5C22544A-7EE6-4342-B048-85BDC9FD1C3A}</a:tableStyleId>
              </a:tblPr>
              <a:tblGrid>
                <a:gridCol w="2256998">
                  <a:extLst>
                    <a:ext uri="{9D8B030D-6E8A-4147-A177-3AD203B41FA5}">
                      <a16:colId xmlns:a16="http://schemas.microsoft.com/office/drawing/2014/main" val="3421886337"/>
                    </a:ext>
                  </a:extLst>
                </a:gridCol>
                <a:gridCol w="8944402">
                  <a:extLst>
                    <a:ext uri="{9D8B030D-6E8A-4147-A177-3AD203B41FA5}">
                      <a16:colId xmlns:a16="http://schemas.microsoft.com/office/drawing/2014/main" val="2705114235"/>
                    </a:ext>
                  </a:extLst>
                </a:gridCol>
              </a:tblGrid>
              <a:tr h="541978">
                <a:tc>
                  <a:txBody>
                    <a:bodyPr/>
                    <a:lstStyle/>
                    <a:p>
                      <a:pPr marL="0" algn="ctr" defTabSz="699463" rtl="0" eaLnBrk="1" latinLnBrk="0" hangingPunct="1"/>
                      <a:r>
                        <a:rPr lang="en-US" sz="1800" b="0" kern="1200">
                          <a:solidFill>
                            <a:schemeClr val="lt1"/>
                          </a:solidFill>
                          <a:latin typeface="Segoe UI Semibold" panose="020B0702040204020203" pitchFamily="34" charset="0"/>
                          <a:ea typeface="+mn-ea"/>
                          <a:cs typeface="Segoe UI Semibold" panose="020B0702040204020203" pitchFamily="34" charset="0"/>
                        </a:rPr>
                        <a:t>Considerations</a:t>
                      </a:r>
                    </a:p>
                  </a:txBody>
                  <a:tcPr marL="68583" marR="68583" marT="34291" marB="34291"/>
                </a:tc>
                <a:tc>
                  <a:txBody>
                    <a:bodyPr/>
                    <a:lstStyle/>
                    <a:p>
                      <a:pPr marL="0" algn="ctr" defTabSz="699463" rtl="0" eaLnBrk="1" latinLnBrk="0" hangingPunct="1"/>
                      <a:r>
                        <a:rPr lang="en-US" sz="1800" b="0" kern="1200" dirty="0">
                          <a:solidFill>
                            <a:schemeClr val="lt1"/>
                          </a:solidFill>
                          <a:latin typeface="Segoe UI Semibold" panose="020B0702040204020203" pitchFamily="34" charset="0"/>
                          <a:ea typeface="+mn-ea"/>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4256535417"/>
                  </a:ext>
                </a:extLst>
              </a:tr>
              <a:tr h="1219216">
                <a:tc>
                  <a:txBody>
                    <a:bodyPr/>
                    <a:lstStyle/>
                    <a:p>
                      <a:pPr marL="0" lvl="0" algn="ctr" defTabSz="699463" rtl="0" eaLnBrk="1" latinLnBrk="0" hangingPunct="1"/>
                      <a:r>
                        <a:rPr lang="en-US" sz="1600" b="0" kern="1200">
                          <a:solidFill>
                            <a:schemeClr val="dk1"/>
                          </a:solidFill>
                          <a:effectLst/>
                          <a:latin typeface="Segoe UI Semibold" panose="020B0702040204020203" pitchFamily="34" charset="0"/>
                          <a:ea typeface="+mn-ea"/>
                          <a:cs typeface="Segoe UI Semibold" panose="020B0702040204020203" pitchFamily="34" charset="0"/>
                        </a:rPr>
                        <a:t>A-Series</a:t>
                      </a:r>
                    </a:p>
                  </a:txBody>
                  <a:tcPr marL="68583" marR="68583" marT="34291" marB="34291"/>
                </a:tc>
                <a:tc>
                  <a:txBody>
                    <a:bodyPr/>
                    <a:lstStyle/>
                    <a:p>
                      <a:pPr marL="171450" indent="-171450">
                        <a:buFont typeface="Arial" panose="020B0604020202020204" pitchFamily="34" charset="0"/>
                        <a:buChar char="•"/>
                      </a:pPr>
                      <a:r>
                        <a:rPr lang="en-US" sz="1200" baseline="0"/>
                        <a:t>Decide on using A8, A9, A10, and A11 as its hardware is designed and optimized for compute and network intensive applications including HPC cluster applications, modeling and simulations.</a:t>
                      </a:r>
                    </a:p>
                    <a:p>
                      <a:pPr marL="171450" indent="-171450">
                        <a:buFont typeface="Arial" panose="020B0604020202020204" pitchFamily="34" charset="0"/>
                        <a:buChar char="•"/>
                      </a:pPr>
                      <a:r>
                        <a:rPr lang="en-US" sz="1200" baseline="0"/>
                        <a:t>Choose A8 and A9 instances to leverage the ability to communicate over low latency, high throughput networks in Azure using RDMA technology for MPI applications.</a:t>
                      </a:r>
                    </a:p>
                    <a:p>
                      <a:pPr marL="171450" indent="-171450">
                        <a:buFont typeface="Arial" panose="020B0604020202020204" pitchFamily="34" charset="0"/>
                        <a:buChar char="•"/>
                      </a:pPr>
                      <a:r>
                        <a:rPr lang="en-US" sz="1200" baseline="0"/>
                        <a:t>Choose A10 and A11 instances for HPC applications that do not require constant and low latency communication between nodes. These do not include the RDMA network in Azure.</a:t>
                      </a:r>
                      <a:endParaRPr lang="en-US" sz="1200"/>
                    </a:p>
                  </a:txBody>
                  <a:tcPr marL="68583" marR="68583" marT="34291" marB="34291"/>
                </a:tc>
                <a:extLst>
                  <a:ext uri="{0D108BD9-81ED-4DB2-BD59-A6C34878D82A}">
                    <a16:rowId xmlns:a16="http://schemas.microsoft.com/office/drawing/2014/main" val="1704686950"/>
                  </a:ext>
                </a:extLst>
              </a:tr>
              <a:tr h="536961">
                <a:tc>
                  <a:txBody>
                    <a:bodyPr/>
                    <a:lstStyle/>
                    <a:p>
                      <a:pPr marL="0" marR="0" lvl="0" indent="0" algn="ctr" defTabSz="699463" rtl="0" eaLnBrk="1" fontAlgn="auto" latinLnBrk="0" hangingPunct="1">
                        <a:lnSpc>
                          <a:spcPct val="100000"/>
                        </a:lnSpc>
                        <a:spcBef>
                          <a:spcPts val="0"/>
                        </a:spcBef>
                        <a:spcAft>
                          <a:spcPts val="0"/>
                        </a:spcAft>
                        <a:buClrTx/>
                        <a:buSzTx/>
                        <a:buFontTx/>
                        <a:buNone/>
                        <a:tabLst/>
                        <a:defRPr/>
                      </a:pPr>
                      <a:r>
                        <a:rPr lang="en-AU" sz="1600" b="0" kern="1200" dirty="0">
                          <a:solidFill>
                            <a:schemeClr val="dk1"/>
                          </a:solidFill>
                          <a:effectLst/>
                          <a:latin typeface="Segoe UI Semibold" panose="020B0702040204020203" pitchFamily="34" charset="0"/>
                          <a:ea typeface="+mn-ea"/>
                          <a:cs typeface="Segoe UI Semibold" panose="020B0702040204020203" pitchFamily="34" charset="0"/>
                        </a:rPr>
                        <a:t>D(v2/v3)/Ev3-Series</a:t>
                      </a:r>
                      <a:endParaRPr lang="en-US" sz="1600" b="0" kern="1200" dirty="0">
                        <a:solidFill>
                          <a:schemeClr val="dk1"/>
                        </a:solidFill>
                        <a:effectLst/>
                        <a:latin typeface="Segoe UI Semibold" panose="020B0702040204020203" pitchFamily="34" charset="0"/>
                        <a:ea typeface="+mn-ea"/>
                        <a:cs typeface="Segoe UI Semibold" panose="020B0702040204020203" pitchFamily="34" charset="0"/>
                      </a:endParaRPr>
                    </a:p>
                  </a:txBody>
                  <a:tcPr marL="68583" marR="68583" marT="34291" marB="34291"/>
                </a:tc>
                <a:tc>
                  <a:txBody>
                    <a:bodyPr/>
                    <a:lstStyle/>
                    <a:p>
                      <a:pPr marL="171450" indent="-171450" algn="l">
                        <a:buFont typeface="Arial" panose="020B0604020202020204" pitchFamily="34" charset="0"/>
                        <a:buChar char="•"/>
                      </a:pPr>
                      <a:r>
                        <a:rPr lang="en-US" sz="1200" kern="1200" dirty="0">
                          <a:solidFill>
                            <a:schemeClr val="dk1"/>
                          </a:solidFill>
                          <a:effectLst/>
                          <a:latin typeface="+mn-lt"/>
                          <a:ea typeface="+mn-ea"/>
                          <a:cs typeface="+mn-cs"/>
                        </a:rPr>
                        <a:t>Choose</a:t>
                      </a:r>
                      <a:r>
                        <a:rPr lang="en-US" sz="1200" kern="1200" baseline="0" dirty="0">
                          <a:solidFill>
                            <a:schemeClr val="dk1"/>
                          </a:solidFill>
                          <a:effectLst/>
                          <a:latin typeface="+mn-lt"/>
                          <a:ea typeface="+mn-ea"/>
                          <a:cs typeface="+mn-cs"/>
                        </a:rPr>
                        <a:t> D(v2/v3)-series VMs as they are designed to run higher compute power and temporary disk performance applications through their faster processors, higher memory to core ratio, and SSDs for their temporary disk. </a:t>
                      </a:r>
                      <a:r>
                        <a:rPr lang="en-US" sz="1200" b="0" i="0" dirty="0">
                          <a:solidFill>
                            <a:srgbClr val="505050"/>
                          </a:solidFill>
                          <a:effectLst/>
                          <a:latin typeface="Segoe UI Condensed"/>
                        </a:rPr>
                        <a:t> Ev3 sizes provide more memory to vCPU than the Dv3 to run larger workloads on sizes up to the largest E64 size, with 64 vCPUs and 432GiB of RAM.</a:t>
                      </a:r>
                      <a:endParaRPr lang="en-US" sz="1200" kern="1200" baseline="0" dirty="0">
                        <a:solidFill>
                          <a:schemeClr val="dk1"/>
                        </a:solidFill>
                        <a:effectLst/>
                        <a:latin typeface="+mn-lt"/>
                        <a:ea typeface="+mn-ea"/>
                        <a:cs typeface="+mn-cs"/>
                      </a:endParaRPr>
                    </a:p>
                  </a:txBody>
                  <a:tcPr marL="68583" marR="68583" marT="34291" marB="34291"/>
                </a:tc>
                <a:extLst>
                  <a:ext uri="{0D108BD9-81ED-4DB2-BD59-A6C34878D82A}">
                    <a16:rowId xmlns:a16="http://schemas.microsoft.com/office/drawing/2014/main" val="1358678287"/>
                  </a:ext>
                </a:extLst>
              </a:tr>
              <a:tr h="533400">
                <a:tc>
                  <a:txBody>
                    <a:bodyPr/>
                    <a:lstStyle/>
                    <a:p>
                      <a:pPr marL="0" marR="0" lvl="0" indent="0" algn="ctr" defTabSz="699463"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effectLst/>
                          <a:latin typeface="Segoe UI Semibold" panose="020B0702040204020203" pitchFamily="34" charset="0"/>
                          <a:ea typeface="+mn-ea"/>
                          <a:cs typeface="Segoe UI Semibold" panose="020B0702040204020203" pitchFamily="34" charset="0"/>
                        </a:rPr>
                        <a:t>F(S)-Series</a:t>
                      </a:r>
                    </a:p>
                  </a:txBody>
                  <a:tcPr marL="68583" marR="68583" marT="34291" marB="34291"/>
                </a:tc>
                <a:tc>
                  <a:txBody>
                    <a:bodyPr/>
                    <a:lstStyle/>
                    <a:p>
                      <a:pPr marL="171450" marR="0" lvl="0" indent="-171450" algn="l" defTabSz="6994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hoose</a:t>
                      </a:r>
                      <a:r>
                        <a:rPr lang="en-US" sz="1200" baseline="0" dirty="0"/>
                        <a:t> F-series VM </a:t>
                      </a:r>
                      <a:r>
                        <a:rPr lang="en-GB" sz="1200" kern="1200" dirty="0">
                          <a:solidFill>
                            <a:schemeClr val="dk1"/>
                          </a:solidFill>
                          <a:effectLst/>
                          <a:latin typeface="+mn-lt"/>
                          <a:ea typeface="+mn-ea"/>
                          <a:cs typeface="+mn-cs"/>
                        </a:rPr>
                        <a:t> for optimized for compute-intensive workloads. This series contains 10 additional compute-optimized VM sizes and the option to optimize for standard or premium storage.</a:t>
                      </a:r>
                      <a:endParaRPr lang="en-US" sz="1200" kern="1200" dirty="0">
                        <a:solidFill>
                          <a:schemeClr val="dk1"/>
                        </a:solidFill>
                        <a:effectLst/>
                        <a:latin typeface="+mn-lt"/>
                        <a:ea typeface="+mn-ea"/>
                        <a:cs typeface="+mn-cs"/>
                      </a:endParaRPr>
                    </a:p>
                  </a:txBody>
                  <a:tcPr marL="68583" marR="68583" marT="34291" marB="34291"/>
                </a:tc>
                <a:extLst>
                  <a:ext uri="{0D108BD9-81ED-4DB2-BD59-A6C34878D82A}">
                    <a16:rowId xmlns:a16="http://schemas.microsoft.com/office/drawing/2014/main" val="707837800"/>
                  </a:ext>
                </a:extLst>
              </a:tr>
              <a:tr h="533400">
                <a:tc>
                  <a:txBody>
                    <a:bodyPr/>
                    <a:lstStyle/>
                    <a:p>
                      <a:pPr marL="0" marR="0" lvl="0" indent="0" algn="ctr" defTabSz="699463"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effectLst/>
                          <a:latin typeface="Segoe UI Semibold" panose="020B0702040204020203" pitchFamily="34" charset="0"/>
                          <a:ea typeface="+mn-ea"/>
                          <a:cs typeface="Segoe UI Semibold" panose="020B0702040204020203" pitchFamily="34" charset="0"/>
                        </a:rPr>
                        <a:t>DS-Series</a:t>
                      </a:r>
                    </a:p>
                  </a:txBody>
                  <a:tcPr marL="68583" marR="68583" marT="34291" marB="34291"/>
                </a:tc>
                <a:tc>
                  <a:txBody>
                    <a:bodyPr/>
                    <a:lstStyle/>
                    <a:p>
                      <a:pPr marL="171450" indent="-171450" algn="l">
                        <a:buFont typeface="Arial" panose="020B0604020202020204" pitchFamily="34" charset="0"/>
                        <a:buChar char="•"/>
                      </a:pPr>
                      <a:r>
                        <a:rPr lang="en-US" sz="1200" kern="1200" dirty="0">
                          <a:solidFill>
                            <a:schemeClr val="dk1"/>
                          </a:solidFill>
                          <a:effectLst/>
                          <a:latin typeface="+mn-lt"/>
                          <a:ea typeface="+mn-ea"/>
                          <a:cs typeface="+mn-cs"/>
                        </a:rPr>
                        <a:t>Choose</a:t>
                      </a:r>
                      <a:r>
                        <a:rPr lang="en-US" sz="1200" kern="1200" baseline="0" dirty="0">
                          <a:solidFill>
                            <a:schemeClr val="dk1"/>
                          </a:solidFill>
                          <a:effectLst/>
                          <a:latin typeface="+mn-lt"/>
                          <a:ea typeface="+mn-ea"/>
                          <a:cs typeface="+mn-cs"/>
                        </a:rPr>
                        <a:t> DS-Series VMs when using Premium Storage. </a:t>
                      </a:r>
                    </a:p>
                    <a:p>
                      <a:pPr marL="171450" indent="-171450" algn="l">
                        <a:buFont typeface="Arial" panose="020B0604020202020204" pitchFamily="34" charset="0"/>
                        <a:buChar char="•"/>
                      </a:pPr>
                      <a:r>
                        <a:rPr lang="en-US" sz="1200" kern="1200" baseline="0" dirty="0">
                          <a:solidFill>
                            <a:schemeClr val="dk1"/>
                          </a:solidFill>
                          <a:effectLst/>
                          <a:latin typeface="+mn-lt"/>
                          <a:ea typeface="+mn-ea"/>
                          <a:cs typeface="+mn-cs"/>
                        </a:rPr>
                        <a:t>Consider that the maximum IOPS and throughput (bandwidth) possible with a DS series VM is affected by the size of the disk.</a:t>
                      </a:r>
                      <a:endParaRPr lang="en-US" sz="1200" dirty="0"/>
                    </a:p>
                  </a:txBody>
                  <a:tcPr marL="68583" marR="68583" marT="34291" marB="34291"/>
                </a:tc>
                <a:extLst>
                  <a:ext uri="{0D108BD9-81ED-4DB2-BD59-A6C34878D82A}">
                    <a16:rowId xmlns:a16="http://schemas.microsoft.com/office/drawing/2014/main" val="2242877533"/>
                  </a:ext>
                </a:extLst>
              </a:tr>
              <a:tr h="297178">
                <a:tc>
                  <a:txBody>
                    <a:bodyPr/>
                    <a:lstStyle/>
                    <a:p>
                      <a:pPr marL="0" marR="0" lvl="0" indent="0" algn="ctr" defTabSz="699463"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effectLst/>
                          <a:latin typeface="Segoe UI Semibold" panose="020B0702040204020203" pitchFamily="34" charset="0"/>
                          <a:ea typeface="+mn-ea"/>
                          <a:cs typeface="Segoe UI Semibold" panose="020B0702040204020203" pitchFamily="34" charset="0"/>
                        </a:rPr>
                        <a:t>G-Series</a:t>
                      </a:r>
                    </a:p>
                  </a:txBody>
                  <a:tcPr marL="68583" marR="68583" marT="34291" marB="34291"/>
                </a:tc>
                <a:tc>
                  <a:txBody>
                    <a:bodyPr/>
                    <a:lstStyle/>
                    <a:p>
                      <a:pPr marL="171450" indent="-171450" algn="l">
                        <a:buFont typeface="Arial" panose="020B0604020202020204" pitchFamily="34" charset="0"/>
                        <a:buChar char="•"/>
                      </a:pPr>
                      <a:r>
                        <a:rPr lang="en-US" sz="1200"/>
                        <a:t>Decide</a:t>
                      </a:r>
                      <a:r>
                        <a:rPr lang="en-US" sz="1200" baseline="0"/>
                        <a:t> on this Tier of VMs to leverage local SSD disks for higher performance.</a:t>
                      </a:r>
                      <a:endParaRPr lang="en-US" sz="1200"/>
                    </a:p>
                  </a:txBody>
                  <a:tcPr marL="68583" marR="68583" marT="34291" marB="34291"/>
                </a:tc>
                <a:extLst>
                  <a:ext uri="{0D108BD9-81ED-4DB2-BD59-A6C34878D82A}">
                    <a16:rowId xmlns:a16="http://schemas.microsoft.com/office/drawing/2014/main" val="4228973891"/>
                  </a:ext>
                </a:extLst>
              </a:tr>
              <a:tr h="304800">
                <a:tc>
                  <a:txBody>
                    <a:bodyPr/>
                    <a:lstStyle/>
                    <a:p>
                      <a:pPr marL="0" marR="0" lvl="0" indent="0" algn="ctr" defTabSz="699463"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effectLst/>
                          <a:latin typeface="Segoe UI Semibold" panose="020B0702040204020203" pitchFamily="34" charset="0"/>
                          <a:ea typeface="+mn-ea"/>
                          <a:cs typeface="Segoe UI Semibold" panose="020B0702040204020203" pitchFamily="34" charset="0"/>
                        </a:rPr>
                        <a:t>GS-Series</a:t>
                      </a:r>
                    </a:p>
                  </a:txBody>
                  <a:tcPr marL="68583" marR="68583" marT="34291" marB="34291"/>
                </a:tc>
                <a:tc>
                  <a:txBody>
                    <a:bodyPr/>
                    <a:lstStyle/>
                    <a:p>
                      <a:pPr marL="171450" marR="0" indent="-1714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effectLst/>
                          <a:latin typeface="+mn-lt"/>
                          <a:ea typeface="+mn-ea"/>
                          <a:cs typeface="+mn-cs"/>
                        </a:rPr>
                        <a:t>Choose</a:t>
                      </a:r>
                      <a:r>
                        <a:rPr lang="en-US" sz="1200" kern="1200" baseline="0">
                          <a:solidFill>
                            <a:schemeClr val="dk1"/>
                          </a:solidFill>
                          <a:effectLst/>
                          <a:latin typeface="+mn-lt"/>
                          <a:ea typeface="+mn-ea"/>
                          <a:cs typeface="+mn-cs"/>
                        </a:rPr>
                        <a:t> GS-Series VMs when using Premium Storage for the highest performance VM series across Azure.</a:t>
                      </a:r>
                    </a:p>
                  </a:txBody>
                  <a:tcPr marL="68583" marR="68583" marT="34291" marB="34291"/>
                </a:tc>
                <a:extLst>
                  <a:ext uri="{0D108BD9-81ED-4DB2-BD59-A6C34878D82A}">
                    <a16:rowId xmlns:a16="http://schemas.microsoft.com/office/drawing/2014/main" val="1114543574"/>
                  </a:ext>
                </a:extLst>
              </a:tr>
              <a:tr h="304800">
                <a:tc>
                  <a:txBody>
                    <a:bodyPr/>
                    <a:lstStyle/>
                    <a:p>
                      <a:pPr marL="0" marR="0" lvl="0" indent="0" algn="ctr" defTabSz="699463"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effectLst/>
                          <a:latin typeface="Segoe UI Semibold" panose="020B0702040204020203" pitchFamily="34" charset="0"/>
                          <a:ea typeface="+mn-ea"/>
                          <a:cs typeface="Segoe UI Semibold" panose="020B0702040204020203" pitchFamily="34" charset="0"/>
                        </a:rPr>
                        <a:t>H-Series</a:t>
                      </a:r>
                    </a:p>
                  </a:txBody>
                  <a:tcPr marL="68583" marR="68583" marT="34291" marB="34291"/>
                </a:tc>
                <a:tc>
                  <a:txBody>
                    <a:bodyPr/>
                    <a:lstStyle/>
                    <a:p>
                      <a:pPr marL="171450" marR="0" indent="-1714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dk1"/>
                          </a:solidFill>
                        </a:rPr>
                        <a:t>Choose H-Series VMs for Compute and Network Intensive applications (similar to A8-A11, see </a:t>
                      </a:r>
                      <a:r>
                        <a:rPr lang="en-US" sz="1200">
                          <a:solidFill>
                            <a:schemeClr val="dk1"/>
                          </a:solidFill>
                          <a:hlinkClick r:id="rId3"/>
                        </a:rPr>
                        <a:t>here</a:t>
                      </a:r>
                      <a:r>
                        <a:rPr lang="en-US" sz="1200">
                          <a:solidFill>
                            <a:schemeClr val="dk1"/>
                          </a:solidFill>
                        </a:rPr>
                        <a:t> for more information.</a:t>
                      </a:r>
                      <a:endParaRPr lang="en-US" sz="1200" kern="1200" baseline="0">
                        <a:solidFill>
                          <a:schemeClr val="dk1"/>
                        </a:solidFill>
                        <a:effectLst/>
                        <a:latin typeface="+mn-lt"/>
                        <a:ea typeface="+mn-ea"/>
                        <a:cs typeface="+mn-cs"/>
                      </a:endParaRPr>
                    </a:p>
                  </a:txBody>
                  <a:tcPr marL="68583" marR="68583" marT="34291" marB="34291"/>
                </a:tc>
                <a:extLst>
                  <a:ext uri="{0D108BD9-81ED-4DB2-BD59-A6C34878D82A}">
                    <a16:rowId xmlns:a16="http://schemas.microsoft.com/office/drawing/2014/main" val="101257574"/>
                  </a:ext>
                </a:extLst>
              </a:tr>
              <a:tr h="342894">
                <a:tc>
                  <a:txBody>
                    <a:bodyPr/>
                    <a:lstStyle/>
                    <a:p>
                      <a:pPr marL="0" marR="0" lvl="0" indent="0" algn="ctr" defTabSz="699463"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effectLst/>
                          <a:latin typeface="Segoe UI Semibold" panose="020B0702040204020203" pitchFamily="34" charset="0"/>
                          <a:ea typeface="+mn-ea"/>
                          <a:cs typeface="Segoe UI Semibold" panose="020B0702040204020203" pitchFamily="34" charset="0"/>
                        </a:rPr>
                        <a:t>N-Series</a:t>
                      </a:r>
                    </a:p>
                  </a:txBody>
                  <a:tcPr marL="68583" marR="68583" marT="34291" marB="34291"/>
                </a:tc>
                <a:tc>
                  <a:txBody>
                    <a:bodyPr/>
                    <a:lstStyle/>
                    <a:p>
                      <a:pPr marL="171450" marR="0" indent="-1714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dk1"/>
                          </a:solidFill>
                          <a:effectLst/>
                          <a:latin typeface="+mn-lt"/>
                          <a:ea typeface="+mn-ea"/>
                          <a:cs typeface="+mn-cs"/>
                        </a:rPr>
                        <a:t>Choose N-Series VMs for Visualization/Compute-related scenarios targeting GPU support.</a:t>
                      </a:r>
                    </a:p>
                  </a:txBody>
                  <a:tcPr marL="68583" marR="68583" marT="34291" marB="34291"/>
                </a:tc>
                <a:extLst>
                  <a:ext uri="{0D108BD9-81ED-4DB2-BD59-A6C34878D82A}">
                    <a16:rowId xmlns:a16="http://schemas.microsoft.com/office/drawing/2014/main" val="2913874991"/>
                  </a:ext>
                </a:extLst>
              </a:tr>
            </a:tbl>
          </a:graphicData>
        </a:graphic>
      </p:graphicFrame>
      <p:sp>
        <p:nvSpPr>
          <p:cNvPr id="4"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Virtual Machine – Sizes and tiers decisions</a:t>
            </a:r>
          </a:p>
        </p:txBody>
      </p:sp>
    </p:spTree>
    <p:extLst>
      <p:ext uri="{BB962C8B-B14F-4D97-AF65-F5344CB8AC3E}">
        <p14:creationId xmlns:p14="http://schemas.microsoft.com/office/powerpoint/2010/main" val="62680834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530153" y="1973262"/>
          <a:ext cx="8229950" cy="2972305"/>
        </p:xfrm>
        <a:graphic>
          <a:graphicData uri="http://schemas.openxmlformats.org/drawingml/2006/table">
            <a:tbl>
              <a:tblPr firstRow="1" bandRow="1">
                <a:tableStyleId>{5C22544A-7EE6-4342-B048-85BDC9FD1C3A}</a:tableStyleId>
              </a:tblPr>
              <a:tblGrid>
                <a:gridCol w="2343250">
                  <a:extLst>
                    <a:ext uri="{9D8B030D-6E8A-4147-A177-3AD203B41FA5}">
                      <a16:colId xmlns:a16="http://schemas.microsoft.com/office/drawing/2014/main" val="20000"/>
                    </a:ext>
                  </a:extLst>
                </a:gridCol>
                <a:gridCol w="5886700">
                  <a:extLst>
                    <a:ext uri="{9D8B030D-6E8A-4147-A177-3AD203B41FA5}">
                      <a16:colId xmlns:a16="http://schemas.microsoft.com/office/drawing/2014/main" val="20001"/>
                    </a:ext>
                  </a:extLst>
                </a:gridCol>
              </a:tblGrid>
              <a:tr h="750899">
                <a:tc>
                  <a:txBody>
                    <a:bodyPr/>
                    <a:lstStyle/>
                    <a:p>
                      <a:pPr algn="ctr"/>
                      <a:r>
                        <a:rPr lang="en-US" sz="2000" b="0">
                          <a:latin typeface="Segoe UI Semibold" panose="020B0702040204020203" pitchFamily="34" charset="0"/>
                          <a:cs typeface="Segoe UI Semibold" panose="020B0702040204020203" pitchFamily="34" charset="0"/>
                        </a:rPr>
                        <a:t>Considerations</a:t>
                      </a:r>
                    </a:p>
                  </a:txBody>
                  <a:tcPr marL="68583" marR="68583" marT="34291" marB="34291"/>
                </a:tc>
                <a:tc>
                  <a:txBody>
                    <a:bodyPr/>
                    <a:lstStyle/>
                    <a:p>
                      <a:pPr algn="ctr"/>
                      <a:r>
                        <a:rPr lang="en-US" sz="2000" b="0">
                          <a:latin typeface="Segoe UI Semibold" panose="020B0702040204020203" pitchFamily="34" charset="0"/>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10000"/>
                  </a:ext>
                </a:extLst>
              </a:tr>
              <a:tr h="2221406">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a:cs typeface="Segoe UI Semibold"/>
                        </a:rPr>
                        <a:t>Supportability</a:t>
                      </a:r>
                    </a:p>
                  </a:txBody>
                  <a:tcPr marL="68583" marR="68583" marT="34291" marB="34291"/>
                </a:tc>
                <a:tc>
                  <a:txBody>
                    <a:bodyPr/>
                    <a:lstStyle/>
                    <a:p>
                      <a:pPr marL="342900" indent="-342900" algn="l">
                        <a:buFont typeface="Arial" panose="020B0604020202020204" pitchFamily="34" charset="0"/>
                        <a:buChar char="•"/>
                      </a:pPr>
                      <a:r>
                        <a:rPr lang="en-US" sz="2000" kern="1200">
                          <a:solidFill>
                            <a:schemeClr val="dk1"/>
                          </a:solidFill>
                          <a:effectLst/>
                          <a:latin typeface="+mn-lt"/>
                          <a:ea typeface="+mn-ea"/>
                          <a:cs typeface="+mn-cs"/>
                        </a:rPr>
                        <a:t>Decide</a:t>
                      </a:r>
                      <a:r>
                        <a:rPr lang="en-US" sz="2000" kern="1200" baseline="0">
                          <a:solidFill>
                            <a:schemeClr val="dk1"/>
                          </a:solidFill>
                          <a:effectLst/>
                          <a:latin typeface="+mn-lt"/>
                          <a:ea typeface="+mn-ea"/>
                          <a:cs typeface="+mn-cs"/>
                        </a:rPr>
                        <a:t> on the application to run in an Azure VM as 32-bit applications are not supported.</a:t>
                      </a:r>
                      <a:endParaRPr lang="en-US" sz="2000"/>
                    </a:p>
                  </a:txBody>
                  <a:tcPr marL="68583" marR="68583" marT="34291" marB="34291"/>
                </a:tc>
                <a:extLst>
                  <a:ext uri="{0D108BD9-81ED-4DB2-BD59-A6C34878D82A}">
                    <a16:rowId xmlns:a16="http://schemas.microsoft.com/office/drawing/2014/main" val="10002"/>
                  </a:ext>
                </a:extLst>
              </a:tr>
            </a:tbl>
          </a:graphicData>
        </a:graphic>
      </p:graphicFrame>
      <p:sp>
        <p:nvSpPr>
          <p:cNvPr id="6"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Virtual Machine – Capability decisions</a:t>
            </a:r>
          </a:p>
        </p:txBody>
      </p:sp>
      <p:sp>
        <p:nvSpPr>
          <p:cNvPr id="8" name="Text Placeholder 1"/>
          <p:cNvSpPr txBox="1">
            <a:spLocks/>
          </p:cNvSpPr>
          <p:nvPr/>
        </p:nvSpPr>
        <p:spPr>
          <a:xfrm>
            <a:off x="456223" y="1212851"/>
            <a:ext cx="11702552" cy="1217611"/>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a:solidFill>
                  <a:schemeClr val="accent1"/>
                </a:solidFill>
              </a:rPr>
              <a:t>Capability considerations</a:t>
            </a:r>
          </a:p>
        </p:txBody>
      </p:sp>
    </p:spTree>
    <p:extLst>
      <p:ext uri="{BB962C8B-B14F-4D97-AF65-F5344CB8AC3E}">
        <p14:creationId xmlns:p14="http://schemas.microsoft.com/office/powerpoint/2010/main" val="118050169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1"/>
          <p:cNvSpPr txBox="1">
            <a:spLocks/>
          </p:cNvSpPr>
          <p:nvPr/>
        </p:nvSpPr>
        <p:spPr>
          <a:xfrm>
            <a:off x="449295" y="984254"/>
            <a:ext cx="11702552" cy="1217611"/>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dirty="0">
                <a:solidFill>
                  <a:schemeClr val="accent1"/>
                </a:solidFill>
              </a:rPr>
              <a:t>Considerations when planning storage accounts for VMs on non-Managed Storage</a:t>
            </a:r>
          </a:p>
        </p:txBody>
      </p:sp>
      <p:graphicFrame>
        <p:nvGraphicFramePr>
          <p:cNvPr id="5" name="Table 4"/>
          <p:cNvGraphicFramePr>
            <a:graphicFrameLocks noGrp="1"/>
          </p:cNvGraphicFramePr>
          <p:nvPr>
            <p:extLst/>
          </p:nvPr>
        </p:nvGraphicFramePr>
        <p:xfrm>
          <a:off x="544006" y="1973262"/>
          <a:ext cx="8839200" cy="4724399"/>
        </p:xfrm>
        <a:graphic>
          <a:graphicData uri="http://schemas.openxmlformats.org/drawingml/2006/table">
            <a:tbl>
              <a:tblPr firstRow="1" bandRow="1">
                <a:tableStyleId>{5C22544A-7EE6-4342-B048-85BDC9FD1C3A}</a:tableStyleId>
              </a:tblPr>
              <a:tblGrid>
                <a:gridCol w="2516717">
                  <a:extLst>
                    <a:ext uri="{9D8B030D-6E8A-4147-A177-3AD203B41FA5}">
                      <a16:colId xmlns:a16="http://schemas.microsoft.com/office/drawing/2014/main" val="20000"/>
                    </a:ext>
                  </a:extLst>
                </a:gridCol>
                <a:gridCol w="6322483">
                  <a:extLst>
                    <a:ext uri="{9D8B030D-6E8A-4147-A177-3AD203B41FA5}">
                      <a16:colId xmlns:a16="http://schemas.microsoft.com/office/drawing/2014/main" val="20001"/>
                    </a:ext>
                  </a:extLst>
                </a:gridCol>
              </a:tblGrid>
              <a:tr h="569683">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Considerations</a:t>
                      </a:r>
                    </a:p>
                  </a:txBody>
                  <a:tcPr marL="68583" marR="68583" marT="34291" marB="34291"/>
                </a:tc>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10000"/>
                  </a:ext>
                </a:extLst>
              </a:tr>
              <a:tr h="2904631">
                <a:tc>
                  <a:txBody>
                    <a:bodyPr/>
                    <a:lstStyle/>
                    <a:p>
                      <a:pPr lvl="0" algn="ctr"/>
                      <a:r>
                        <a:rPr lang="en-US" sz="1600" b="0" kern="1200">
                          <a:solidFill>
                            <a:schemeClr val="dk1"/>
                          </a:solidFill>
                          <a:effectLst/>
                          <a:latin typeface="Segoe UI Semibold" panose="020B0702040204020203" pitchFamily="34" charset="0"/>
                          <a:ea typeface="+mn-ea"/>
                          <a:cs typeface="Segoe UI Semibold" panose="020B0702040204020203" pitchFamily="34" charset="0"/>
                        </a:rPr>
                        <a:t>Virtual</a:t>
                      </a:r>
                      <a:r>
                        <a:rPr lang="en-US" sz="1600" b="0" kern="1200" baseline="0">
                          <a:solidFill>
                            <a:schemeClr val="dk1"/>
                          </a:solidFill>
                          <a:effectLst/>
                          <a:latin typeface="Segoe UI Semibold" panose="020B0702040204020203" pitchFamily="34" charset="0"/>
                          <a:ea typeface="+mn-ea"/>
                          <a:cs typeface="Segoe UI Semibold" panose="020B0702040204020203" pitchFamily="34" charset="0"/>
                        </a:rPr>
                        <a:t> Machines consideration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buFont typeface="Arial" panose="020B0604020202020204" pitchFamily="34" charset="0"/>
                        <a:buChar char="•"/>
                      </a:pPr>
                      <a:r>
                        <a:rPr lang="en-US" sz="1400" baseline="0" dirty="0"/>
                        <a:t>Choose to maintain the storage account and VM in the same region.</a:t>
                      </a:r>
                    </a:p>
                    <a:p>
                      <a:pPr marL="285750" indent="-285750">
                        <a:buFont typeface="Arial" panose="020B0604020202020204" pitchFamily="34" charset="0"/>
                        <a:buChar char="•"/>
                      </a:pPr>
                      <a:r>
                        <a:rPr lang="en-US" sz="1400" baseline="0" dirty="0"/>
                        <a:t>Choose to use storage account of Managed Disk for VM.</a:t>
                      </a:r>
                    </a:p>
                    <a:p>
                      <a:pPr marL="285750" indent="-285750">
                        <a:buFont typeface="Arial" panose="020B0604020202020204" pitchFamily="34" charset="0"/>
                        <a:buChar char="•"/>
                      </a:pPr>
                      <a:r>
                        <a:rPr lang="en-US" sz="1400" baseline="0" dirty="0"/>
                        <a:t>Disable geo-replication on the storage account when the workload provides availability or if multiple disks are spanned together.</a:t>
                      </a:r>
                    </a:p>
                    <a:p>
                      <a:pPr marL="285750" indent="-285750">
                        <a:buFont typeface="Arial" panose="020B0604020202020204" pitchFamily="34" charset="0"/>
                        <a:buChar char="•"/>
                      </a:pPr>
                      <a:r>
                        <a:rPr lang="en-US" sz="1400" baseline="0" dirty="0"/>
                        <a:t>Avoid using OS or temporary disks for database storage or logging.</a:t>
                      </a:r>
                    </a:p>
                    <a:p>
                      <a:pPr marL="285750" indent="-285750">
                        <a:buFont typeface="Arial" panose="020B0604020202020204" pitchFamily="34" charset="0"/>
                        <a:buChar char="•"/>
                      </a:pPr>
                      <a:r>
                        <a:rPr lang="en-US" sz="1400" baseline="0" dirty="0"/>
                        <a:t>Avoid using data disk caching options where not supported by the workload or solution running in the VM.</a:t>
                      </a:r>
                    </a:p>
                    <a:p>
                      <a:pPr marL="285750" indent="-285750">
                        <a:buFont typeface="Arial" panose="020B0604020202020204" pitchFamily="34" charset="0"/>
                        <a:buChar char="•"/>
                      </a:pPr>
                      <a:r>
                        <a:rPr lang="en-US" sz="1400" baseline="0" dirty="0"/>
                        <a:t>Choose to stripe multiple data disks to get increased IO throughput.</a:t>
                      </a:r>
                    </a:p>
                    <a:p>
                      <a:pPr marL="285750" indent="-285750">
                        <a:buFont typeface="Arial" panose="020B0604020202020204" pitchFamily="34" charset="0"/>
                        <a:buChar char="•"/>
                      </a:pPr>
                      <a:r>
                        <a:rPr lang="en-US" sz="1400" baseline="0" dirty="0"/>
                        <a:t>Format with documented allocation sizes.</a:t>
                      </a:r>
                    </a:p>
                    <a:p>
                      <a:pPr marL="285750" indent="-285750">
                        <a:buFont typeface="Arial" panose="020B0604020202020204" pitchFamily="34" charset="0"/>
                        <a:buChar char="•"/>
                      </a:pPr>
                      <a:r>
                        <a:rPr lang="en-US" sz="1400" baseline="0" dirty="0"/>
                        <a:t>Move all data related files to data disks, including system databases.</a:t>
                      </a:r>
                    </a:p>
                    <a:p>
                      <a:pPr marL="285750" indent="-285750">
                        <a:buFont typeface="Arial" panose="020B0604020202020204" pitchFamily="34" charset="0"/>
                        <a:buChar char="•"/>
                      </a:pPr>
                      <a:r>
                        <a:rPr lang="en-US" sz="1400" baseline="0" dirty="0"/>
                        <a:t>Backup directly to blob storage when possible</a:t>
                      </a:r>
                      <a:endParaRPr lang="en-US" sz="1400" dirty="0"/>
                    </a:p>
                  </a:txBody>
                  <a:tcPr marL="68583" marR="68583" marT="34291" marB="34291"/>
                </a:tc>
                <a:extLst>
                  <a:ext uri="{0D108BD9-81ED-4DB2-BD59-A6C34878D82A}">
                    <a16:rowId xmlns:a16="http://schemas.microsoft.com/office/drawing/2014/main" val="10001"/>
                  </a:ext>
                </a:extLst>
              </a:tr>
              <a:tr h="1250085">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Scalability</a:t>
                      </a:r>
                      <a:r>
                        <a:rPr lang="en-US" sz="1600" b="0" baseline="0">
                          <a:latin typeface="Segoe UI Semibold" panose="020B0702040204020203" pitchFamily="34" charset="0"/>
                          <a:cs typeface="Segoe UI Semibold" panose="020B0702040204020203" pitchFamily="34" charset="0"/>
                        </a:rPr>
                        <a:t> and </a:t>
                      </a:r>
                      <a:br>
                        <a:rPr lang="en-US" sz="1600" b="0" baseline="0">
                          <a:latin typeface="Segoe UI Semibold" panose="020B0702040204020203" pitchFamily="34" charset="0"/>
                          <a:cs typeface="Segoe UI Semibold" panose="020B0702040204020203" pitchFamily="34" charset="0"/>
                        </a:rPr>
                      </a:br>
                      <a:r>
                        <a:rPr lang="en-US" sz="1600" b="0" baseline="0">
                          <a:latin typeface="Segoe UI Semibold" panose="020B0702040204020203" pitchFamily="34" charset="0"/>
                          <a:cs typeface="Segoe UI Semibold" panose="020B0702040204020203" pitchFamily="34" charset="0"/>
                        </a:rPr>
                        <a:t>storage throttling</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400" kern="1200" dirty="0">
                          <a:solidFill>
                            <a:schemeClr val="dk1"/>
                          </a:solidFill>
                          <a:effectLst/>
                          <a:latin typeface="+mn-lt"/>
                          <a:ea typeface="+mn-ea"/>
                          <a:cs typeface="+mn-cs"/>
                        </a:rPr>
                        <a:t>For VMs</a:t>
                      </a:r>
                      <a:r>
                        <a:rPr lang="en-US" sz="1400" kern="1200" baseline="0" dirty="0">
                          <a:solidFill>
                            <a:schemeClr val="dk1"/>
                          </a:solidFill>
                          <a:effectLst/>
                          <a:latin typeface="+mn-lt"/>
                          <a:ea typeface="+mn-ea"/>
                          <a:cs typeface="+mn-cs"/>
                        </a:rPr>
                        <a:t> in the Basic Tier, do not place more than 66 highly used VHDs in</a:t>
                      </a:r>
                      <a:br>
                        <a:rPr lang="en-US" sz="1400" kern="1200" baseline="0" dirty="0">
                          <a:solidFill>
                            <a:schemeClr val="dk1"/>
                          </a:solidFill>
                          <a:effectLst/>
                          <a:latin typeface="+mn-lt"/>
                          <a:ea typeface="+mn-ea"/>
                          <a:cs typeface="+mn-cs"/>
                        </a:rPr>
                      </a:br>
                      <a:r>
                        <a:rPr lang="en-US" sz="1400" kern="1200" baseline="0" dirty="0">
                          <a:solidFill>
                            <a:schemeClr val="dk1"/>
                          </a:solidFill>
                          <a:effectLst/>
                          <a:latin typeface="+mn-lt"/>
                          <a:ea typeface="+mn-ea"/>
                          <a:cs typeface="+mn-cs"/>
                        </a:rPr>
                        <a:t> a storage account to avoid 20,000 total requests rate limit (20,000/300).</a:t>
                      </a:r>
                    </a:p>
                    <a:p>
                      <a:pPr marL="285750" indent="-285750" algn="l">
                        <a:buFont typeface="Arial" panose="020B0604020202020204" pitchFamily="34" charset="0"/>
                        <a:buChar char="•"/>
                      </a:pPr>
                      <a:r>
                        <a:rPr lang="en-US" sz="1400" kern="1200" baseline="0" dirty="0">
                          <a:solidFill>
                            <a:schemeClr val="dk1"/>
                          </a:solidFill>
                          <a:effectLst/>
                          <a:latin typeface="+mn-lt"/>
                          <a:ea typeface="+mn-ea"/>
                          <a:cs typeface="+mn-cs"/>
                        </a:rPr>
                        <a:t>For VMs in the Standard Tier, do not place more than 40 highly used </a:t>
                      </a:r>
                      <a:br>
                        <a:rPr lang="en-US" sz="1400" kern="1200" baseline="0" dirty="0">
                          <a:solidFill>
                            <a:schemeClr val="dk1"/>
                          </a:solidFill>
                          <a:effectLst/>
                          <a:latin typeface="+mn-lt"/>
                          <a:ea typeface="+mn-ea"/>
                          <a:cs typeface="+mn-cs"/>
                        </a:rPr>
                      </a:br>
                      <a:r>
                        <a:rPr lang="en-US" sz="1400" kern="1200" baseline="0" dirty="0">
                          <a:solidFill>
                            <a:schemeClr val="dk1"/>
                          </a:solidFill>
                          <a:effectLst/>
                          <a:latin typeface="+mn-lt"/>
                          <a:ea typeface="+mn-ea"/>
                          <a:cs typeface="+mn-cs"/>
                        </a:rPr>
                        <a:t>VHDs in a storage account (20,000/500).</a:t>
                      </a:r>
                      <a:endParaRPr lang="en-US" sz="1400" dirty="0"/>
                    </a:p>
                  </a:txBody>
                  <a:tcPr marL="68583" marR="68583" marT="34291" marB="34291"/>
                </a:tc>
                <a:extLst>
                  <a:ext uri="{0D108BD9-81ED-4DB2-BD59-A6C34878D82A}">
                    <a16:rowId xmlns:a16="http://schemas.microsoft.com/office/drawing/2014/main" val="10002"/>
                  </a:ext>
                </a:extLst>
              </a:tr>
            </a:tbl>
          </a:graphicData>
        </a:graphic>
      </p:graphicFrame>
      <p:sp>
        <p:nvSpPr>
          <p:cNvPr id="8" name="Title 2"/>
          <p:cNvSpPr txBox="1">
            <a:spLocks/>
          </p:cNvSpPr>
          <p:nvPr/>
        </p:nvSpPr>
        <p:spPr>
          <a:xfrm>
            <a:off x="366169" y="205827"/>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Virtual Machine – Storage decisions</a:t>
            </a:r>
          </a:p>
        </p:txBody>
      </p:sp>
    </p:spTree>
    <p:extLst>
      <p:ext uri="{BB962C8B-B14F-4D97-AF65-F5344CB8AC3E}">
        <p14:creationId xmlns:p14="http://schemas.microsoft.com/office/powerpoint/2010/main" val="49612552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523226" y="2430462"/>
          <a:ext cx="9982200" cy="3505200"/>
        </p:xfrm>
        <a:graphic>
          <a:graphicData uri="http://schemas.openxmlformats.org/drawingml/2006/table">
            <a:tbl>
              <a:tblPr firstRow="1" bandRow="1">
                <a:tableStyleId>{5C22544A-7EE6-4342-B048-85BDC9FD1C3A}</a:tableStyleId>
              </a:tblPr>
              <a:tblGrid>
                <a:gridCol w="3657600">
                  <a:extLst>
                    <a:ext uri="{9D8B030D-6E8A-4147-A177-3AD203B41FA5}">
                      <a16:colId xmlns:a16="http://schemas.microsoft.com/office/drawing/2014/main" val="20000"/>
                    </a:ext>
                  </a:extLst>
                </a:gridCol>
                <a:gridCol w="6324600">
                  <a:extLst>
                    <a:ext uri="{9D8B030D-6E8A-4147-A177-3AD203B41FA5}">
                      <a16:colId xmlns:a16="http://schemas.microsoft.com/office/drawing/2014/main" val="20001"/>
                    </a:ext>
                  </a:extLst>
                </a:gridCol>
              </a:tblGrid>
              <a:tr h="817511">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Considerations</a:t>
                      </a:r>
                    </a:p>
                  </a:txBody>
                  <a:tcPr marL="68583" marR="68583" marT="34291" marB="34291"/>
                </a:tc>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10000"/>
                  </a:ext>
                </a:extLst>
              </a:tr>
              <a:tr h="706489">
                <a:tc>
                  <a:txBody>
                    <a:bodyPr/>
                    <a:lstStyle/>
                    <a:p>
                      <a:pPr lvl="0" algn="ctr"/>
                      <a:r>
                        <a:rPr lang="en-US" sz="1600" b="0" kern="1200">
                          <a:solidFill>
                            <a:schemeClr val="dk1"/>
                          </a:solidFill>
                          <a:effectLst/>
                          <a:latin typeface="Segoe UI Semibold" panose="020B0702040204020203" pitchFamily="34" charset="0"/>
                          <a:ea typeface="+mn-ea"/>
                          <a:cs typeface="Segoe UI Semibold" panose="020B0702040204020203" pitchFamily="34" charset="0"/>
                        </a:rPr>
                        <a:t>Application</a:t>
                      </a:r>
                      <a:r>
                        <a:rPr lang="en-US" sz="1600" b="0" kern="1200" baseline="0">
                          <a:solidFill>
                            <a:schemeClr val="dk1"/>
                          </a:solidFill>
                          <a:effectLst/>
                          <a:latin typeface="Segoe UI Semibold" panose="020B0702040204020203" pitchFamily="34" charset="0"/>
                          <a:ea typeface="+mn-ea"/>
                          <a:cs typeface="Segoe UI Semibold" panose="020B0702040204020203" pitchFamily="34" charset="0"/>
                        </a:rPr>
                        <a:t> Lifecycle Container</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buFont typeface="Arial" panose="020B0604020202020204" pitchFamily="34" charset="0"/>
                        <a:buChar char="•"/>
                      </a:pPr>
                      <a:r>
                        <a:rPr lang="en-US" sz="1800" baseline="0"/>
                        <a:t>Choose when deploying and management of application is done for the same resources.</a:t>
                      </a:r>
                      <a:endParaRPr lang="en-US" sz="1800"/>
                    </a:p>
                  </a:txBody>
                  <a:tcPr marL="68583" marR="68583" marT="34291" marB="34291"/>
                </a:tc>
                <a:extLst>
                  <a:ext uri="{0D108BD9-81ED-4DB2-BD59-A6C34878D82A}">
                    <a16:rowId xmlns:a16="http://schemas.microsoft.com/office/drawing/2014/main" val="10001"/>
                  </a:ext>
                </a:extLst>
              </a:tr>
              <a:tr h="990600">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Declarative</a:t>
                      </a:r>
                      <a:r>
                        <a:rPr lang="en-US" sz="1600" b="0" baseline="0">
                          <a:latin typeface="Segoe UI Semibold" panose="020B0702040204020203" pitchFamily="34" charset="0"/>
                          <a:cs typeface="Segoe UI Semibold" panose="020B0702040204020203" pitchFamily="34" charset="0"/>
                        </a:rPr>
                        <a:t> Solution for Deployment and Configuration</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800" kern="1200">
                          <a:solidFill>
                            <a:schemeClr val="dk1"/>
                          </a:solidFill>
                          <a:effectLst/>
                          <a:latin typeface="+mn-lt"/>
                          <a:ea typeface="+mn-ea"/>
                          <a:cs typeface="+mn-cs"/>
                        </a:rPr>
                        <a:t>Choose</a:t>
                      </a:r>
                      <a:r>
                        <a:rPr lang="en-US" sz="1800" kern="1200" baseline="0">
                          <a:solidFill>
                            <a:schemeClr val="dk1"/>
                          </a:solidFill>
                          <a:effectLst/>
                          <a:latin typeface="+mn-lt"/>
                          <a:ea typeface="+mn-ea"/>
                          <a:cs typeface="+mn-cs"/>
                        </a:rPr>
                        <a:t> when finding the need of multiple instantiations of your application.</a:t>
                      </a:r>
                      <a:endParaRPr lang="en-US" sz="1800"/>
                    </a:p>
                  </a:txBody>
                  <a:tcPr marL="68583" marR="68583" marT="34291" marB="34291"/>
                </a:tc>
                <a:extLst>
                  <a:ext uri="{0D108BD9-81ED-4DB2-BD59-A6C34878D82A}">
                    <a16:rowId xmlns:a16="http://schemas.microsoft.com/office/drawing/2014/main" val="10002"/>
                  </a:ext>
                </a:extLst>
              </a:tr>
              <a:tr h="990600">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Consisten</a:t>
                      </a:r>
                      <a:r>
                        <a:rPr lang="en-US" sz="1600" b="0" baseline="0">
                          <a:latin typeface="Segoe UI Semibold" panose="020B0702040204020203" pitchFamily="34" charset="0"/>
                          <a:cs typeface="Segoe UI Semibold" panose="020B0702040204020203" pitchFamily="34" charset="0"/>
                        </a:rPr>
                        <a:t>t management layer</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800"/>
                        <a:t>Choose</a:t>
                      </a:r>
                      <a:r>
                        <a:rPr lang="en-US" sz="1800" baseline="0"/>
                        <a:t> when consistent results are expected for the application or service vs. inconsistency that might be caused using the portal or other CLI Azure Tools.</a:t>
                      </a:r>
                      <a:endParaRPr lang="en-US" sz="1800"/>
                    </a:p>
                  </a:txBody>
                  <a:tcPr marL="68583" marR="68583" marT="34291" marB="34291"/>
                </a:tc>
                <a:extLst>
                  <a:ext uri="{0D108BD9-81ED-4DB2-BD59-A6C34878D82A}">
                    <a16:rowId xmlns:a16="http://schemas.microsoft.com/office/drawing/2014/main" val="10003"/>
                  </a:ext>
                </a:extLst>
              </a:tr>
            </a:tbl>
          </a:graphicData>
        </a:graphic>
      </p:graphicFrame>
      <p:sp>
        <p:nvSpPr>
          <p:cNvPr id="6" name="Text Placeholder 1"/>
          <p:cNvSpPr txBox="1">
            <a:spLocks/>
          </p:cNvSpPr>
          <p:nvPr/>
        </p:nvSpPr>
        <p:spPr>
          <a:xfrm>
            <a:off x="442367" y="1212851"/>
            <a:ext cx="11642476" cy="1217611"/>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a:solidFill>
                  <a:schemeClr val="accent1"/>
                </a:solidFill>
              </a:rPr>
              <a:t>Consider the following aspects when choosing </a:t>
            </a:r>
            <a:br>
              <a:rPr lang="en-US">
                <a:solidFill>
                  <a:schemeClr val="accent1"/>
                </a:solidFill>
              </a:rPr>
            </a:br>
            <a:r>
              <a:rPr lang="en-US">
                <a:solidFill>
                  <a:schemeClr val="accent1"/>
                </a:solidFill>
              </a:rPr>
              <a:t>resource groups:</a:t>
            </a:r>
          </a:p>
        </p:txBody>
      </p:sp>
      <p:sp>
        <p:nvSpPr>
          <p:cNvPr id="7"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Virtual Machine – Placement decisions</a:t>
            </a:r>
          </a:p>
        </p:txBody>
      </p:sp>
    </p:spTree>
    <p:extLst>
      <p:ext uri="{BB962C8B-B14F-4D97-AF65-F5344CB8AC3E}">
        <p14:creationId xmlns:p14="http://schemas.microsoft.com/office/powerpoint/2010/main" val="195033999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Virtual Machines – Extension decisions</a:t>
            </a:r>
          </a:p>
        </p:txBody>
      </p:sp>
      <p:graphicFrame>
        <p:nvGraphicFramePr>
          <p:cNvPr id="5" name="Table 4"/>
          <p:cNvGraphicFramePr>
            <a:graphicFrameLocks noGrp="1"/>
          </p:cNvGraphicFramePr>
          <p:nvPr>
            <p:extLst/>
          </p:nvPr>
        </p:nvGraphicFramePr>
        <p:xfrm>
          <a:off x="599074" y="2430462"/>
          <a:ext cx="8229950" cy="4395270"/>
        </p:xfrm>
        <a:graphic>
          <a:graphicData uri="http://schemas.openxmlformats.org/drawingml/2006/table">
            <a:tbl>
              <a:tblPr firstRow="1" bandRow="1">
                <a:tableStyleId>{5C22544A-7EE6-4342-B048-85BDC9FD1C3A}</a:tableStyleId>
              </a:tblPr>
              <a:tblGrid>
                <a:gridCol w="4239771">
                  <a:extLst>
                    <a:ext uri="{9D8B030D-6E8A-4147-A177-3AD203B41FA5}">
                      <a16:colId xmlns:a16="http://schemas.microsoft.com/office/drawing/2014/main" val="20000"/>
                    </a:ext>
                  </a:extLst>
                </a:gridCol>
                <a:gridCol w="3990179">
                  <a:extLst>
                    <a:ext uri="{9D8B030D-6E8A-4147-A177-3AD203B41FA5}">
                      <a16:colId xmlns:a16="http://schemas.microsoft.com/office/drawing/2014/main" val="20001"/>
                    </a:ext>
                  </a:extLst>
                </a:gridCol>
              </a:tblGrid>
              <a:tr h="472758">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Considerations</a:t>
                      </a:r>
                    </a:p>
                  </a:txBody>
                  <a:tcPr marL="68583" marR="68583" marT="34291" marB="34291"/>
                </a:tc>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10000"/>
                  </a:ext>
                </a:extLst>
              </a:tr>
              <a:tr h="617222">
                <a:tc>
                  <a:txBody>
                    <a:bodyPr/>
                    <a:lstStyle/>
                    <a:p>
                      <a:pPr lvl="0" algn="ctr"/>
                      <a:r>
                        <a:rPr lang="en-US" sz="1600" b="0">
                          <a:latin typeface="Segoe UI Semibold" panose="020B0702040204020203" pitchFamily="34" charset="0"/>
                          <a:cs typeface="Segoe UI Semibold" panose="020B0702040204020203" pitchFamily="34" charset="0"/>
                        </a:rPr>
                        <a:t>Connectivity</a:t>
                      </a:r>
                      <a:r>
                        <a:rPr lang="en-US" sz="1600" b="0" baseline="0">
                          <a:latin typeface="Segoe UI Semibold" panose="020B0702040204020203" pitchFamily="34" charset="0"/>
                          <a:cs typeface="Segoe UI Semibold" panose="020B0702040204020203" pitchFamily="34" charset="0"/>
                        </a:rPr>
                        <a:t> and Basic Management</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buFont typeface="Arial" panose="020B0604020202020204" pitchFamily="34" charset="0"/>
                        <a:buChar char="•"/>
                      </a:pPr>
                      <a:r>
                        <a:rPr lang="en-US" sz="1400" baseline="0" err="1"/>
                        <a:t>VMAccessAgent</a:t>
                      </a:r>
                      <a:r>
                        <a:rPr lang="en-US" sz="1400" baseline="0"/>
                        <a:t> (Windows)</a:t>
                      </a:r>
                    </a:p>
                    <a:p>
                      <a:pPr marL="285750" indent="-285750">
                        <a:buFont typeface="Arial" panose="020B0604020202020204" pitchFamily="34" charset="0"/>
                        <a:buChar char="•"/>
                      </a:pPr>
                      <a:r>
                        <a:rPr lang="en-US" sz="1400" baseline="0" err="1"/>
                        <a:t>VMAccessForLinux</a:t>
                      </a:r>
                      <a:r>
                        <a:rPr lang="en-US" sz="1400" baseline="0"/>
                        <a:t> (Linux)</a:t>
                      </a:r>
                    </a:p>
                  </a:txBody>
                  <a:tcPr marL="68583" marR="68583" marT="34291" marB="34291"/>
                </a:tc>
                <a:extLst>
                  <a:ext uri="{0D108BD9-81ED-4DB2-BD59-A6C34878D82A}">
                    <a16:rowId xmlns:a16="http://schemas.microsoft.com/office/drawing/2014/main" val="10001"/>
                  </a:ext>
                </a:extLst>
              </a:tr>
              <a:tr h="1209788">
                <a:tc>
                  <a:txBody>
                    <a:bodyPr/>
                    <a:lstStyle/>
                    <a:p>
                      <a:pPr lvl="0" algn="ctr"/>
                      <a:r>
                        <a:rPr lang="en-US" sz="1600" b="0" kern="1200">
                          <a:solidFill>
                            <a:schemeClr val="dk1"/>
                          </a:solidFill>
                          <a:effectLst/>
                          <a:latin typeface="Segoe UI Semibold" panose="020B0702040204020203" pitchFamily="34" charset="0"/>
                          <a:ea typeface="+mn-ea"/>
                          <a:cs typeface="Segoe UI Semibold" panose="020B0702040204020203" pitchFamily="34" charset="0"/>
                        </a:rPr>
                        <a:t>Deployment</a:t>
                      </a:r>
                      <a:r>
                        <a:rPr lang="en-US" sz="1600" b="0" kern="1200" baseline="0">
                          <a:solidFill>
                            <a:schemeClr val="dk1"/>
                          </a:solidFill>
                          <a:effectLst/>
                          <a:latin typeface="Segoe UI Semibold" panose="020B0702040204020203" pitchFamily="34" charset="0"/>
                          <a:ea typeface="+mn-ea"/>
                          <a:cs typeface="Segoe UI Semibold" panose="020B0702040204020203" pitchFamily="34" charset="0"/>
                        </a:rPr>
                        <a:t> and Configuration Management</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buFont typeface="Arial" panose="020B0604020202020204" pitchFamily="34" charset="0"/>
                        <a:buChar char="•"/>
                      </a:pPr>
                      <a:r>
                        <a:rPr lang="en-US" sz="1400" baseline="0"/>
                        <a:t>Custom VM Script</a:t>
                      </a:r>
                    </a:p>
                    <a:p>
                      <a:pPr marL="285750" indent="-285750">
                        <a:buFont typeface="Arial" panose="020B0604020202020204" pitchFamily="34" charset="0"/>
                        <a:buChar char="•"/>
                      </a:pPr>
                      <a:r>
                        <a:rPr lang="en-US" sz="1400" baseline="0"/>
                        <a:t>Chef</a:t>
                      </a:r>
                    </a:p>
                    <a:p>
                      <a:pPr marL="285750" indent="-285750">
                        <a:buFont typeface="Arial" panose="020B0604020202020204" pitchFamily="34" charset="0"/>
                        <a:buChar char="•"/>
                      </a:pPr>
                      <a:r>
                        <a:rPr lang="en-US" sz="1400" baseline="0"/>
                        <a:t>Puppet</a:t>
                      </a:r>
                    </a:p>
                    <a:p>
                      <a:pPr marL="285750" indent="-285750">
                        <a:buFont typeface="Arial" panose="020B0604020202020204" pitchFamily="34" charset="0"/>
                        <a:buChar char="•"/>
                      </a:pPr>
                      <a:r>
                        <a:rPr lang="en-US" sz="1400" baseline="0"/>
                        <a:t>PowerShell DSC</a:t>
                      </a:r>
                    </a:p>
                    <a:p>
                      <a:pPr marL="285750" indent="-285750">
                        <a:buFont typeface="Arial" panose="020B0604020202020204" pitchFamily="34" charset="0"/>
                        <a:buChar char="•"/>
                      </a:pPr>
                      <a:r>
                        <a:rPr lang="en-US" sz="1400" baseline="0"/>
                        <a:t>MS Enterprise Application</a:t>
                      </a:r>
                    </a:p>
                  </a:txBody>
                  <a:tcPr marL="68583" marR="68583" marT="34291" marB="34291"/>
                </a:tc>
                <a:extLst>
                  <a:ext uri="{0D108BD9-81ED-4DB2-BD59-A6C34878D82A}">
                    <a16:rowId xmlns:a16="http://schemas.microsoft.com/office/drawing/2014/main" val="10002"/>
                  </a:ext>
                </a:extLst>
              </a:tr>
              <a:tr h="1600200">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Security</a:t>
                      </a:r>
                      <a:r>
                        <a:rPr lang="en-US" sz="1600" b="0" baseline="0">
                          <a:latin typeface="Segoe UI Semibold" panose="020B0702040204020203" pitchFamily="34" charset="0"/>
                          <a:cs typeface="Segoe UI Semibold" panose="020B0702040204020203" pitchFamily="34" charset="0"/>
                        </a:rPr>
                        <a:t> and protection</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400" kern="1200" err="1">
                          <a:solidFill>
                            <a:schemeClr val="dk1"/>
                          </a:solidFill>
                          <a:effectLst/>
                          <a:latin typeface="+mn-lt"/>
                          <a:ea typeface="+mn-ea"/>
                          <a:cs typeface="+mn-cs"/>
                        </a:rPr>
                        <a:t>CloudLinkSecureVMWindowsAgent</a:t>
                      </a:r>
                      <a:endParaRPr lang="en-US" sz="1400" kern="1200">
                        <a:solidFill>
                          <a:schemeClr val="dk1"/>
                        </a:solidFill>
                        <a:effectLst/>
                        <a:latin typeface="+mn-lt"/>
                        <a:ea typeface="+mn-ea"/>
                        <a:cs typeface="+mn-cs"/>
                      </a:endParaRPr>
                    </a:p>
                    <a:p>
                      <a:pPr marL="285750" indent="-285750" algn="l">
                        <a:buFont typeface="Arial" panose="020B0604020202020204" pitchFamily="34" charset="0"/>
                        <a:buChar char="•"/>
                      </a:pPr>
                      <a:r>
                        <a:rPr lang="en-US" sz="1400" kern="1200" err="1">
                          <a:solidFill>
                            <a:schemeClr val="dk1"/>
                          </a:solidFill>
                          <a:effectLst/>
                          <a:latin typeface="+mn-lt"/>
                          <a:ea typeface="+mn-ea"/>
                          <a:cs typeface="+mn-cs"/>
                        </a:rPr>
                        <a:t>AzureDiskEncryption</a:t>
                      </a:r>
                      <a:endParaRPr lang="en-US" sz="1400" kern="1200">
                        <a:solidFill>
                          <a:schemeClr val="dk1"/>
                        </a:solidFill>
                        <a:effectLst/>
                        <a:latin typeface="+mn-lt"/>
                        <a:ea typeface="+mn-ea"/>
                        <a:cs typeface="+mn-cs"/>
                      </a:endParaRPr>
                    </a:p>
                    <a:p>
                      <a:pPr marL="285750" indent="-285750" algn="l">
                        <a:buFont typeface="Arial" panose="020B0604020202020204" pitchFamily="34" charset="0"/>
                        <a:buChar char="•"/>
                      </a:pPr>
                      <a:r>
                        <a:rPr lang="en-US" sz="1400" kern="1200" err="1">
                          <a:solidFill>
                            <a:schemeClr val="dk1"/>
                          </a:solidFill>
                          <a:effectLst/>
                          <a:latin typeface="+mn-lt"/>
                          <a:ea typeface="+mn-ea"/>
                          <a:cs typeface="+mn-cs"/>
                        </a:rPr>
                        <a:t>McAfeeEndpointSecuirty</a:t>
                      </a:r>
                      <a:endParaRPr lang="en-US" sz="1400" kern="1200">
                        <a:solidFill>
                          <a:schemeClr val="dk1"/>
                        </a:solidFill>
                        <a:effectLst/>
                        <a:latin typeface="+mn-lt"/>
                        <a:ea typeface="+mn-ea"/>
                        <a:cs typeface="+mn-cs"/>
                      </a:endParaRPr>
                    </a:p>
                    <a:p>
                      <a:pPr marL="285750" indent="-285750" algn="l">
                        <a:buFont typeface="Arial" panose="020B0604020202020204" pitchFamily="34" charset="0"/>
                        <a:buChar char="•"/>
                      </a:pPr>
                      <a:r>
                        <a:rPr lang="en-US" sz="1400" kern="1200" err="1">
                          <a:solidFill>
                            <a:schemeClr val="dk1"/>
                          </a:solidFill>
                          <a:effectLst/>
                          <a:latin typeface="+mn-lt"/>
                          <a:ea typeface="+mn-ea"/>
                          <a:cs typeface="+mn-cs"/>
                        </a:rPr>
                        <a:t>TrendMicroDSA</a:t>
                      </a:r>
                      <a:endParaRPr lang="en-US" sz="1400" kern="1200">
                        <a:solidFill>
                          <a:schemeClr val="dk1"/>
                        </a:solidFill>
                        <a:effectLst/>
                        <a:latin typeface="+mn-lt"/>
                        <a:ea typeface="+mn-ea"/>
                        <a:cs typeface="+mn-cs"/>
                      </a:endParaRPr>
                    </a:p>
                    <a:p>
                      <a:pPr marL="285750" indent="-285750" algn="l">
                        <a:buFont typeface="Arial" panose="020B0604020202020204" pitchFamily="34" charset="0"/>
                        <a:buChar char="•"/>
                      </a:pPr>
                      <a:r>
                        <a:rPr lang="en-US" sz="1400" kern="1200" err="1">
                          <a:solidFill>
                            <a:schemeClr val="dk1"/>
                          </a:solidFill>
                          <a:effectLst/>
                          <a:latin typeface="+mn-lt"/>
                          <a:ea typeface="+mn-ea"/>
                          <a:cs typeface="+mn-cs"/>
                        </a:rPr>
                        <a:t>PortalProtectExtension</a:t>
                      </a:r>
                      <a:endParaRPr lang="en-US" sz="1400" kern="1200">
                        <a:solidFill>
                          <a:schemeClr val="dk1"/>
                        </a:solidFill>
                        <a:effectLst/>
                        <a:latin typeface="+mn-lt"/>
                        <a:ea typeface="+mn-ea"/>
                        <a:cs typeface="+mn-cs"/>
                      </a:endParaRPr>
                    </a:p>
                    <a:p>
                      <a:pPr marL="285750" indent="-285750" algn="l">
                        <a:buFont typeface="Arial" panose="020B0604020202020204" pitchFamily="34" charset="0"/>
                        <a:buChar char="•"/>
                      </a:pPr>
                      <a:r>
                        <a:rPr lang="en-US" sz="1400" kern="1200" err="1">
                          <a:solidFill>
                            <a:schemeClr val="dk1"/>
                          </a:solidFill>
                          <a:effectLst/>
                          <a:latin typeface="+mn-lt"/>
                          <a:ea typeface="+mn-ea"/>
                          <a:cs typeface="+mn-cs"/>
                        </a:rPr>
                        <a:t>IaaSAntimalware</a:t>
                      </a:r>
                      <a:endParaRPr lang="en-US" sz="1400" kern="1200">
                        <a:solidFill>
                          <a:schemeClr val="dk1"/>
                        </a:solidFill>
                        <a:effectLst/>
                        <a:latin typeface="+mn-lt"/>
                        <a:ea typeface="+mn-ea"/>
                        <a:cs typeface="+mn-cs"/>
                      </a:endParaRPr>
                    </a:p>
                    <a:p>
                      <a:pPr marL="285750" indent="-285750" algn="l">
                        <a:buFont typeface="Arial" panose="020B0604020202020204" pitchFamily="34" charset="0"/>
                        <a:buChar char="•"/>
                      </a:pPr>
                      <a:r>
                        <a:rPr lang="en-US" sz="1400" kern="1200" err="1">
                          <a:solidFill>
                            <a:schemeClr val="dk1"/>
                          </a:solidFill>
                          <a:effectLst/>
                          <a:latin typeface="+mn-lt"/>
                          <a:ea typeface="+mn-ea"/>
                          <a:cs typeface="+mn-cs"/>
                        </a:rPr>
                        <a:t>SymantecEndpointProtection</a:t>
                      </a:r>
                      <a:endParaRPr lang="en-US" sz="1400"/>
                    </a:p>
                  </a:txBody>
                  <a:tcPr marL="68583" marR="68583" marT="34291" marB="34291"/>
                </a:tc>
                <a:extLst>
                  <a:ext uri="{0D108BD9-81ED-4DB2-BD59-A6C34878D82A}">
                    <a16:rowId xmlns:a16="http://schemas.microsoft.com/office/drawing/2014/main" val="10003"/>
                  </a:ext>
                </a:extLst>
              </a:tr>
              <a:tr h="308582">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VM</a:t>
                      </a:r>
                      <a:r>
                        <a:rPr lang="en-US" sz="1600" b="0" baseline="0">
                          <a:latin typeface="Segoe UI Semibold" panose="020B0702040204020203" pitchFamily="34" charset="0"/>
                          <a:cs typeface="Segoe UI Semibold" panose="020B0702040204020203" pitchFamily="34" charset="0"/>
                        </a:rPr>
                        <a:t> operations and management</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400"/>
                        <a:t>IaaS Diagnostics</a:t>
                      </a:r>
                    </a:p>
                    <a:p>
                      <a:pPr marL="285750" indent="-285750" algn="l">
                        <a:buFont typeface="Arial" panose="020B0604020202020204" pitchFamily="34" charset="0"/>
                        <a:buChar char="•"/>
                      </a:pPr>
                      <a:r>
                        <a:rPr lang="en-US" sz="1400" err="1"/>
                        <a:t>OSPatchingForLinux</a:t>
                      </a:r>
                      <a:endParaRPr lang="en-US" sz="1400"/>
                    </a:p>
                  </a:txBody>
                  <a:tcPr marL="68583" marR="68583" marT="34291" marB="34291"/>
                </a:tc>
                <a:extLst>
                  <a:ext uri="{0D108BD9-81ED-4DB2-BD59-A6C34878D82A}">
                    <a16:rowId xmlns:a16="http://schemas.microsoft.com/office/drawing/2014/main" val="10004"/>
                  </a:ext>
                </a:extLst>
              </a:tr>
            </a:tbl>
          </a:graphicData>
        </a:graphic>
      </p:graphicFrame>
      <p:sp>
        <p:nvSpPr>
          <p:cNvPr id="7" name="Text Placeholder 1"/>
          <p:cNvSpPr txBox="1">
            <a:spLocks/>
          </p:cNvSpPr>
          <p:nvPr/>
        </p:nvSpPr>
        <p:spPr>
          <a:xfrm>
            <a:off x="477005" y="1212851"/>
            <a:ext cx="11871076" cy="1217611"/>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a:solidFill>
                  <a:schemeClr val="accent1"/>
                </a:solidFill>
              </a:rPr>
              <a:t>Decide on the following for VM extensions based </a:t>
            </a:r>
            <a:br>
              <a:rPr lang="en-US">
                <a:solidFill>
                  <a:schemeClr val="accent1"/>
                </a:solidFill>
              </a:rPr>
            </a:br>
            <a:r>
              <a:rPr lang="en-US">
                <a:solidFill>
                  <a:schemeClr val="accent1"/>
                </a:solidFill>
              </a:rPr>
              <a:t>on considerations</a:t>
            </a:r>
          </a:p>
        </p:txBody>
      </p:sp>
    </p:spTree>
    <p:extLst>
      <p:ext uri="{BB962C8B-B14F-4D97-AF65-F5344CB8AC3E}">
        <p14:creationId xmlns:p14="http://schemas.microsoft.com/office/powerpoint/2010/main" val="238103978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IaaS considerations – Cost decisions</a:t>
            </a:r>
          </a:p>
        </p:txBody>
      </p:sp>
      <p:graphicFrame>
        <p:nvGraphicFramePr>
          <p:cNvPr id="6" name="Table 5"/>
          <p:cNvGraphicFramePr>
            <a:graphicFrameLocks noGrp="1"/>
          </p:cNvGraphicFramePr>
          <p:nvPr>
            <p:extLst/>
          </p:nvPr>
        </p:nvGraphicFramePr>
        <p:xfrm>
          <a:off x="550933" y="1287462"/>
          <a:ext cx="8229950" cy="5355104"/>
        </p:xfrm>
        <a:graphic>
          <a:graphicData uri="http://schemas.openxmlformats.org/drawingml/2006/table">
            <a:tbl>
              <a:tblPr firstRow="1" bandRow="1">
                <a:tableStyleId>{5C22544A-7EE6-4342-B048-85BDC9FD1C3A}</a:tableStyleId>
              </a:tblPr>
              <a:tblGrid>
                <a:gridCol w="2343250">
                  <a:extLst>
                    <a:ext uri="{9D8B030D-6E8A-4147-A177-3AD203B41FA5}">
                      <a16:colId xmlns:a16="http://schemas.microsoft.com/office/drawing/2014/main" val="20000"/>
                    </a:ext>
                  </a:extLst>
                </a:gridCol>
                <a:gridCol w="5886700">
                  <a:extLst>
                    <a:ext uri="{9D8B030D-6E8A-4147-A177-3AD203B41FA5}">
                      <a16:colId xmlns:a16="http://schemas.microsoft.com/office/drawing/2014/main" val="20001"/>
                    </a:ext>
                  </a:extLst>
                </a:gridCol>
              </a:tblGrid>
              <a:tr h="533400">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Considerations</a:t>
                      </a:r>
                    </a:p>
                  </a:txBody>
                  <a:tcPr marL="68583" marR="68583" marT="34291" marB="34291"/>
                </a:tc>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10000"/>
                  </a:ext>
                </a:extLst>
              </a:tr>
              <a:tr h="706380">
                <a:tc>
                  <a:txBody>
                    <a:bodyPr/>
                    <a:lstStyle/>
                    <a:p>
                      <a:pPr lvl="0" algn="ctr"/>
                      <a:r>
                        <a:rPr lang="en-US" sz="1600" b="0">
                          <a:latin typeface="Segoe UI Semibold" panose="020B0702040204020203" pitchFamily="34" charset="0"/>
                          <a:cs typeface="Segoe UI Semibold" panose="020B0702040204020203" pitchFamily="34" charset="0"/>
                        </a:rPr>
                        <a:t>Size</a:t>
                      </a:r>
                      <a:r>
                        <a:rPr lang="en-US" sz="1600" b="0" baseline="0">
                          <a:latin typeface="Segoe UI Semibold" panose="020B0702040204020203" pitchFamily="34" charset="0"/>
                          <a:cs typeface="Segoe UI Semibold" panose="020B0702040204020203" pitchFamily="34" charset="0"/>
                        </a:rPr>
                        <a:t> and number of VM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buFont typeface="Arial" panose="020B0604020202020204" pitchFamily="34" charset="0"/>
                        <a:buChar char="•"/>
                      </a:pPr>
                      <a:r>
                        <a:rPr lang="en-US" sz="1600" baseline="0"/>
                        <a:t>Consider licensing costs and understand what is included in the VM Image. </a:t>
                      </a:r>
                    </a:p>
                  </a:txBody>
                  <a:tcPr marL="68583" marR="68583" marT="34291" marB="34291"/>
                </a:tc>
                <a:extLst>
                  <a:ext uri="{0D108BD9-81ED-4DB2-BD59-A6C34878D82A}">
                    <a16:rowId xmlns:a16="http://schemas.microsoft.com/office/drawing/2014/main" val="10001"/>
                  </a:ext>
                </a:extLst>
              </a:tr>
              <a:tr h="800102">
                <a:tc>
                  <a:txBody>
                    <a:bodyPr/>
                    <a:lstStyle/>
                    <a:p>
                      <a:pPr lvl="0" algn="ctr"/>
                      <a:r>
                        <a:rPr lang="en-US" sz="1600" b="0" kern="1200">
                          <a:solidFill>
                            <a:schemeClr val="dk1"/>
                          </a:solidFill>
                          <a:effectLst/>
                          <a:latin typeface="Segoe UI Semibold" panose="020B0702040204020203" pitchFamily="34" charset="0"/>
                          <a:ea typeface="+mn-ea"/>
                          <a:cs typeface="Segoe UI Semibold" panose="020B0702040204020203" pitchFamily="34" charset="0"/>
                        </a:rPr>
                        <a:t>Azure</a:t>
                      </a:r>
                      <a:r>
                        <a:rPr lang="en-US" sz="1600" b="0" kern="1200" baseline="0">
                          <a:solidFill>
                            <a:schemeClr val="dk1"/>
                          </a:solidFill>
                          <a:effectLst/>
                          <a:latin typeface="Segoe UI Semibold" panose="020B0702040204020203" pitchFamily="34" charset="0"/>
                          <a:ea typeface="+mn-ea"/>
                          <a:cs typeface="Segoe UI Semibold" panose="020B0702040204020203" pitchFamily="34" charset="0"/>
                        </a:rPr>
                        <a:t> storage requirement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a:t>Understand VM storage costs are billed separate from the VM Compute aspect.</a:t>
                      </a:r>
                    </a:p>
                    <a:p>
                      <a:pPr marL="285750" indent="-285750">
                        <a:buFont typeface="Arial" panose="020B0604020202020204" pitchFamily="34" charset="0"/>
                        <a:buChar char="•"/>
                      </a:pPr>
                      <a:endParaRPr lang="en-US" sz="1600" baseline="0"/>
                    </a:p>
                  </a:txBody>
                  <a:tcPr marL="68583" marR="68583" marT="34291" marB="34291"/>
                </a:tc>
                <a:extLst>
                  <a:ext uri="{0D108BD9-81ED-4DB2-BD59-A6C34878D82A}">
                    <a16:rowId xmlns:a16="http://schemas.microsoft.com/office/drawing/2014/main" val="10002"/>
                  </a:ext>
                </a:extLst>
              </a:tr>
              <a:tr h="1344596">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Azure</a:t>
                      </a:r>
                      <a:r>
                        <a:rPr lang="en-US" sz="1600" b="0" baseline="0">
                          <a:latin typeface="Segoe UI Semibold" panose="020B0702040204020203" pitchFamily="34" charset="0"/>
                          <a:cs typeface="Segoe UI Semibold" panose="020B0702040204020203" pitchFamily="34" charset="0"/>
                        </a:rPr>
                        <a:t> Virtual Network</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600"/>
                        <a:t>Charges</a:t>
                      </a:r>
                      <a:r>
                        <a:rPr lang="en-US" sz="1600" baseline="0"/>
                        <a:t> are applied for the creation of VPN connections between a VNet and your VPN gateway. The charge is per available and provisioned hour.</a:t>
                      </a:r>
                    </a:p>
                    <a:p>
                      <a:pPr marL="285750" indent="-285750" algn="l">
                        <a:buFont typeface="Arial" panose="020B0604020202020204" pitchFamily="34" charset="0"/>
                        <a:buChar char="•"/>
                      </a:pPr>
                      <a:r>
                        <a:rPr lang="en-US" sz="1600" baseline="0"/>
                        <a:t>Data transferred over the VPN is charged separately at the Azure standard transfer rates.</a:t>
                      </a:r>
                      <a:endParaRPr lang="en-US" sz="1600"/>
                    </a:p>
                  </a:txBody>
                  <a:tcPr marL="68583" marR="68583" marT="34291" marB="34291"/>
                </a:tc>
                <a:extLst>
                  <a:ext uri="{0D108BD9-81ED-4DB2-BD59-A6C34878D82A}">
                    <a16:rowId xmlns:a16="http://schemas.microsoft.com/office/drawing/2014/main" val="10003"/>
                  </a:ext>
                </a:extLst>
              </a:tr>
              <a:tr h="1287782">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Network traffic</a:t>
                      </a:r>
                    </a:p>
                  </a:txBody>
                  <a:tcPr marL="68583" marR="68583" marT="34291" marB="34291"/>
                </a:tc>
                <a:tc>
                  <a:txBody>
                    <a:bodyPr/>
                    <a:lstStyle/>
                    <a:p>
                      <a:pPr marL="285750" indent="-285750" algn="l">
                        <a:buFont typeface="Arial" panose="020B0604020202020204" pitchFamily="34" charset="0"/>
                        <a:buChar char="•"/>
                      </a:pPr>
                      <a:r>
                        <a:rPr lang="en-US" sz="1600"/>
                        <a:t>Consider</a:t>
                      </a:r>
                      <a:r>
                        <a:rPr lang="en-US" sz="1600" baseline="0"/>
                        <a:t> that OB data is charged based on the total amount of data moving out of the Azure datacenters through the Internet.</a:t>
                      </a:r>
                    </a:p>
                    <a:p>
                      <a:pPr marL="285750" indent="-285750" algn="l">
                        <a:buFont typeface="Arial" panose="020B0604020202020204" pitchFamily="34" charset="0"/>
                        <a:buChar char="•"/>
                      </a:pPr>
                      <a:r>
                        <a:rPr lang="en-US" sz="1600" baseline="0"/>
                        <a:t>As an example, outbound directory synchronization serves as a common case</a:t>
                      </a:r>
                      <a:endParaRPr lang="en-US" sz="1600"/>
                    </a:p>
                  </a:txBody>
                  <a:tcPr marL="68583" marR="68583" marT="34291" marB="34291"/>
                </a:tc>
                <a:extLst>
                  <a:ext uri="{0D108BD9-81ED-4DB2-BD59-A6C34878D82A}">
                    <a16:rowId xmlns:a16="http://schemas.microsoft.com/office/drawing/2014/main" val="10004"/>
                  </a:ext>
                </a:extLst>
              </a:tr>
              <a:tr h="682844">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Support</a:t>
                      </a:r>
                    </a:p>
                  </a:txBody>
                  <a:tcPr marL="68583" marR="68583" marT="34291" marB="34291"/>
                </a:tc>
                <a:tc>
                  <a:txBody>
                    <a:bodyPr/>
                    <a:lstStyle/>
                    <a:p>
                      <a:pPr marL="285750" indent="-285750" algn="l">
                        <a:buFont typeface="Arial" panose="020B0604020202020204" pitchFamily="34" charset="0"/>
                        <a:buChar char="•"/>
                      </a:pPr>
                      <a:r>
                        <a:rPr lang="en-US" sz="1600"/>
                        <a:t>Flexible options</a:t>
                      </a:r>
                      <a:r>
                        <a:rPr lang="en-US" sz="1600" baseline="0"/>
                        <a:t> for all organizations sizes are available.</a:t>
                      </a:r>
                    </a:p>
                    <a:p>
                      <a:pPr marL="285750" indent="-285750" algn="l">
                        <a:buFont typeface="Arial" panose="020B0604020202020204" pitchFamily="34" charset="0"/>
                        <a:buChar char="•"/>
                      </a:pPr>
                      <a:r>
                        <a:rPr lang="en-US" sz="1600" baseline="0"/>
                        <a:t>Consider additional support for business critical applications. </a:t>
                      </a:r>
                      <a:endParaRPr lang="en-US" sz="1600"/>
                    </a:p>
                  </a:txBody>
                  <a:tcPr marL="68583" marR="68583" marT="34291" marB="3429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05957772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IaaS considerations – Networking decisions</a:t>
            </a:r>
          </a:p>
        </p:txBody>
      </p:sp>
      <p:graphicFrame>
        <p:nvGraphicFramePr>
          <p:cNvPr id="6" name="Table 5"/>
          <p:cNvGraphicFramePr>
            <a:graphicFrameLocks noGrp="1"/>
          </p:cNvGraphicFramePr>
          <p:nvPr>
            <p:extLst/>
          </p:nvPr>
        </p:nvGraphicFramePr>
        <p:xfrm>
          <a:off x="530152" y="1287462"/>
          <a:ext cx="8229950" cy="5383681"/>
        </p:xfrm>
        <a:graphic>
          <a:graphicData uri="http://schemas.openxmlformats.org/drawingml/2006/table">
            <a:tbl>
              <a:tblPr firstRow="1" bandRow="1">
                <a:tableStyleId>{5C22544A-7EE6-4342-B048-85BDC9FD1C3A}</a:tableStyleId>
              </a:tblPr>
              <a:tblGrid>
                <a:gridCol w="2343250">
                  <a:extLst>
                    <a:ext uri="{9D8B030D-6E8A-4147-A177-3AD203B41FA5}">
                      <a16:colId xmlns:a16="http://schemas.microsoft.com/office/drawing/2014/main" val="20000"/>
                    </a:ext>
                  </a:extLst>
                </a:gridCol>
                <a:gridCol w="5886700">
                  <a:extLst>
                    <a:ext uri="{9D8B030D-6E8A-4147-A177-3AD203B41FA5}">
                      <a16:colId xmlns:a16="http://schemas.microsoft.com/office/drawing/2014/main" val="20001"/>
                    </a:ext>
                  </a:extLst>
                </a:gridCol>
              </a:tblGrid>
              <a:tr h="864318">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Considerations</a:t>
                      </a:r>
                    </a:p>
                  </a:txBody>
                  <a:tcPr marL="68583" marR="68583" marT="34291" marB="34291"/>
                </a:tc>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10000"/>
                  </a:ext>
                </a:extLst>
              </a:tr>
              <a:tr h="697362">
                <a:tc>
                  <a:txBody>
                    <a:bodyPr/>
                    <a:lstStyle/>
                    <a:p>
                      <a:pPr lvl="0" algn="ctr"/>
                      <a:r>
                        <a:rPr lang="en-US" sz="1600" b="0">
                          <a:latin typeface="Segoe UI Semibold" panose="020B0702040204020203" pitchFamily="34" charset="0"/>
                          <a:cs typeface="Segoe UI Semibold" panose="020B0702040204020203" pitchFamily="34" charset="0"/>
                        </a:rPr>
                        <a:t>Name</a:t>
                      </a:r>
                      <a:r>
                        <a:rPr lang="en-US" sz="1600" b="0" baseline="0">
                          <a:latin typeface="Segoe UI Semibold" panose="020B0702040204020203" pitchFamily="34" charset="0"/>
                          <a:cs typeface="Segoe UI Semibold" panose="020B0702040204020203" pitchFamily="34" charset="0"/>
                        </a:rPr>
                        <a:t> resolution</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buFont typeface="Arial" panose="020B0604020202020204" pitchFamily="34" charset="0"/>
                        <a:buChar char="•"/>
                      </a:pPr>
                      <a:r>
                        <a:rPr lang="en-US" sz="1600" baseline="0"/>
                        <a:t>Decide between Azure provided DNS and bringing your own DNS solution.</a:t>
                      </a:r>
                    </a:p>
                  </a:txBody>
                  <a:tcPr marL="68583" marR="68583" marT="34291" marB="34291"/>
                </a:tc>
                <a:extLst>
                  <a:ext uri="{0D108BD9-81ED-4DB2-BD59-A6C34878D82A}">
                    <a16:rowId xmlns:a16="http://schemas.microsoft.com/office/drawing/2014/main" val="10001"/>
                  </a:ext>
                </a:extLst>
              </a:tr>
              <a:tr h="1043942">
                <a:tc>
                  <a:txBody>
                    <a:bodyPr/>
                    <a:lstStyle/>
                    <a:p>
                      <a:pPr lvl="0" algn="ctr"/>
                      <a:r>
                        <a:rPr lang="en-US" sz="1600" b="0" kern="1200">
                          <a:solidFill>
                            <a:schemeClr val="dk1"/>
                          </a:solidFill>
                          <a:effectLst/>
                          <a:latin typeface="Segoe UI Semibold" panose="020B0702040204020203" pitchFamily="34" charset="0"/>
                          <a:ea typeface="+mn-ea"/>
                          <a:cs typeface="Segoe UI Semibold" panose="020B0702040204020203" pitchFamily="34" charset="0"/>
                        </a:rPr>
                        <a:t>Security</a:t>
                      </a:r>
                      <a:r>
                        <a:rPr lang="en-US" sz="1600" b="0" kern="1200" baseline="0">
                          <a:solidFill>
                            <a:schemeClr val="dk1"/>
                          </a:solidFill>
                          <a:effectLst/>
                          <a:latin typeface="Segoe UI Semibold" panose="020B0702040204020203" pitchFamily="34" charset="0"/>
                          <a:ea typeface="+mn-ea"/>
                          <a:cs typeface="Segoe UI Semibold" panose="020B0702040204020203" pitchFamily="34" charset="0"/>
                        </a:rPr>
                        <a:t> and isolation</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a:t>Consider using VNets to provide an added layer of isolation, as only VMs that are part of the same VNet can access each other.</a:t>
                      </a:r>
                    </a:p>
                    <a:p>
                      <a:pPr marL="285750" indent="-285750">
                        <a:buFont typeface="Arial" panose="020B0604020202020204" pitchFamily="34" charset="0"/>
                        <a:buChar char="•"/>
                      </a:pPr>
                      <a:endParaRPr lang="en-US" sz="1600" baseline="0"/>
                    </a:p>
                  </a:txBody>
                  <a:tcPr marL="68583" marR="68583" marT="34291" marB="34291"/>
                </a:tc>
                <a:extLst>
                  <a:ext uri="{0D108BD9-81ED-4DB2-BD59-A6C34878D82A}">
                    <a16:rowId xmlns:a16="http://schemas.microsoft.com/office/drawing/2014/main" val="10002"/>
                  </a:ext>
                </a:extLst>
              </a:tr>
              <a:tr h="1166924">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Extended</a:t>
                      </a:r>
                      <a:r>
                        <a:rPr lang="en-US" sz="1600" b="0" baseline="0">
                          <a:latin typeface="Segoe UI Semibold" panose="020B0702040204020203" pitchFamily="34" charset="0"/>
                          <a:cs typeface="Segoe UI Semibold" panose="020B0702040204020203" pitchFamily="34" charset="0"/>
                        </a:rPr>
                        <a:t> connectivity boundary</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600"/>
                        <a:t>Consider</a:t>
                      </a:r>
                      <a:r>
                        <a:rPr lang="en-US" sz="1600" baseline="0"/>
                        <a:t> creating VNets and placing VMs within a single VNet in order to have them communicate with each other directly without requiring VNet peering or S2S VPN connectivity.</a:t>
                      </a:r>
                      <a:endParaRPr lang="en-US" sz="1600"/>
                    </a:p>
                  </a:txBody>
                  <a:tcPr marL="68583" marR="68583" marT="34291" marB="34291"/>
                </a:tc>
                <a:extLst>
                  <a:ext uri="{0D108BD9-81ED-4DB2-BD59-A6C34878D82A}">
                    <a16:rowId xmlns:a16="http://schemas.microsoft.com/office/drawing/2014/main" val="10003"/>
                  </a:ext>
                </a:extLst>
              </a:tr>
              <a:tr h="937009">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Extend</a:t>
                      </a:r>
                      <a:r>
                        <a:rPr lang="en-US" sz="1600" b="0" baseline="0">
                          <a:latin typeface="Segoe UI Semibold" panose="020B0702040204020203" pitchFamily="34" charset="0"/>
                          <a:cs typeface="Segoe UI Semibold" panose="020B0702040204020203" pitchFamily="34" charset="0"/>
                        </a:rPr>
                        <a:t> your on-premises network to the cloud</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600" baseline="0"/>
                        <a:t>Consider joining Azure VMs to your on-premises domain in order to access and leverage on-premises monitoring and identity services. </a:t>
                      </a:r>
                    </a:p>
                  </a:txBody>
                  <a:tcPr marL="68583" marR="68583" marT="34291" marB="34291"/>
                </a:tc>
                <a:extLst>
                  <a:ext uri="{0D108BD9-81ED-4DB2-BD59-A6C34878D82A}">
                    <a16:rowId xmlns:a16="http://schemas.microsoft.com/office/drawing/2014/main" val="10004"/>
                  </a:ext>
                </a:extLst>
              </a:tr>
              <a:tr h="674126">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Persisten</a:t>
                      </a:r>
                      <a:r>
                        <a:rPr lang="en-US" sz="1600" b="0" baseline="0">
                          <a:latin typeface="Segoe UI Semibold" panose="020B0702040204020203" pitchFamily="34" charset="0"/>
                          <a:cs typeface="Segoe UI Semibold" panose="020B0702040204020203" pitchFamily="34" charset="0"/>
                        </a:rPr>
                        <a:t>t private IP addresse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600" baseline="0"/>
                        <a:t>Configure a static IP address to ensure your VM retains its private IP address even when Stop/Deallocated.</a:t>
                      </a:r>
                    </a:p>
                  </a:txBody>
                  <a:tcPr marL="68583" marR="68583" marT="34291" marB="3429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26880146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IaaS considerations – Limitations decisions</a:t>
            </a:r>
          </a:p>
        </p:txBody>
      </p:sp>
      <p:graphicFrame>
        <p:nvGraphicFramePr>
          <p:cNvPr id="6" name="Table 5"/>
          <p:cNvGraphicFramePr>
            <a:graphicFrameLocks noGrp="1"/>
          </p:cNvGraphicFramePr>
          <p:nvPr>
            <p:extLst>
              <p:ext uri="{D42A27DB-BD31-4B8C-83A1-F6EECF244321}">
                <p14:modId xmlns:p14="http://schemas.microsoft.com/office/powerpoint/2010/main" val="1508108493"/>
              </p:ext>
            </p:extLst>
          </p:nvPr>
        </p:nvGraphicFramePr>
        <p:xfrm>
          <a:off x="527895" y="1285885"/>
          <a:ext cx="11058186" cy="5314591"/>
        </p:xfrm>
        <a:graphic>
          <a:graphicData uri="http://schemas.openxmlformats.org/drawingml/2006/table">
            <a:tbl>
              <a:tblPr firstRow="1" bandRow="1">
                <a:tableStyleId>{5C22544A-7EE6-4342-B048-85BDC9FD1C3A}</a:tableStyleId>
              </a:tblPr>
              <a:tblGrid>
                <a:gridCol w="3148511">
                  <a:extLst>
                    <a:ext uri="{9D8B030D-6E8A-4147-A177-3AD203B41FA5}">
                      <a16:colId xmlns:a16="http://schemas.microsoft.com/office/drawing/2014/main" val="20000"/>
                    </a:ext>
                  </a:extLst>
                </a:gridCol>
                <a:gridCol w="7909675">
                  <a:extLst>
                    <a:ext uri="{9D8B030D-6E8A-4147-A177-3AD203B41FA5}">
                      <a16:colId xmlns:a16="http://schemas.microsoft.com/office/drawing/2014/main" val="20001"/>
                    </a:ext>
                  </a:extLst>
                </a:gridCol>
              </a:tblGrid>
              <a:tr h="839777">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Considerations</a:t>
                      </a:r>
                    </a:p>
                  </a:txBody>
                  <a:tcPr marL="68583" marR="68583" marT="34291" marB="34291"/>
                </a:tc>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10000"/>
                  </a:ext>
                </a:extLst>
              </a:tr>
              <a:tr h="856318">
                <a:tc>
                  <a:txBody>
                    <a:bodyPr/>
                    <a:lstStyle/>
                    <a:p>
                      <a:pPr lvl="0" algn="ctr"/>
                      <a:r>
                        <a:rPr lang="en-US" sz="1600" b="0">
                          <a:latin typeface="Segoe UI Semibold" panose="020B0702040204020203" pitchFamily="34" charset="0"/>
                          <a:cs typeface="Segoe UI Semibold" panose="020B0702040204020203" pitchFamily="34" charset="0"/>
                        </a:rPr>
                        <a:t>Auto-scaling</a:t>
                      </a:r>
                    </a:p>
                  </a:txBody>
                  <a:tcPr marL="68583" marR="68583" marT="34291" marB="34291"/>
                </a:tc>
                <a:tc>
                  <a:txBody>
                    <a:bodyPr/>
                    <a:lstStyle/>
                    <a:p>
                      <a:pPr marL="285750" indent="-285750">
                        <a:buFont typeface="Arial" panose="020B0604020202020204" pitchFamily="34" charset="0"/>
                        <a:buChar char="•"/>
                      </a:pPr>
                      <a:r>
                        <a:rPr lang="en-US" sz="1600" baseline="0"/>
                        <a:t>Consider utilizing monitoring and automation capabilities such as the Azure monitoring agent and Azure automation to dynamically scale and deploy application code to VM instances in the environment.</a:t>
                      </a:r>
                    </a:p>
                  </a:txBody>
                  <a:tcPr marL="68583" marR="68583" marT="34291" marB="34291"/>
                </a:tc>
                <a:extLst>
                  <a:ext uri="{0D108BD9-81ED-4DB2-BD59-A6C34878D82A}">
                    <a16:rowId xmlns:a16="http://schemas.microsoft.com/office/drawing/2014/main" val="10001"/>
                  </a:ext>
                </a:extLst>
              </a:tr>
              <a:tr h="439082">
                <a:tc>
                  <a:txBody>
                    <a:bodyPr/>
                    <a:lstStyle/>
                    <a:p>
                      <a:pPr lvl="0" algn="ctr"/>
                      <a:r>
                        <a:rPr lang="en-US" sz="1600" b="0" kern="1200">
                          <a:solidFill>
                            <a:schemeClr val="dk1"/>
                          </a:solidFill>
                          <a:effectLst/>
                          <a:latin typeface="Segoe UI Semibold" panose="020B0702040204020203" pitchFamily="34" charset="0"/>
                          <a:ea typeface="+mn-ea"/>
                          <a:cs typeface="Segoe UI Semibold" panose="020B0702040204020203" pitchFamily="34" charset="0"/>
                        </a:rPr>
                        <a:t>Load</a:t>
                      </a:r>
                      <a:r>
                        <a:rPr lang="en-US" sz="1600" b="0" kern="1200" baseline="0">
                          <a:solidFill>
                            <a:schemeClr val="dk1"/>
                          </a:solidFill>
                          <a:effectLst/>
                          <a:latin typeface="Segoe UI Semibold" panose="020B0702040204020203" pitchFamily="34" charset="0"/>
                          <a:ea typeface="+mn-ea"/>
                          <a:cs typeface="Segoe UI Semibold" panose="020B0702040204020203" pitchFamily="34" charset="0"/>
                        </a:rPr>
                        <a:t> balancing</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Consider creating and applying a load balancer to VMs.</a:t>
                      </a:r>
                    </a:p>
                    <a:p>
                      <a:pPr marL="285750" indent="-285750">
                        <a:buFontTx/>
                        <a:buChar char="-"/>
                      </a:pPr>
                      <a:endParaRPr lang="en-US" sz="1600" baseline="0" dirty="0"/>
                    </a:p>
                  </a:txBody>
                  <a:tcPr marL="68583" marR="68583" marT="34291" marB="34291"/>
                </a:tc>
                <a:extLst>
                  <a:ext uri="{0D108BD9-81ED-4DB2-BD59-A6C34878D82A}">
                    <a16:rowId xmlns:a16="http://schemas.microsoft.com/office/drawing/2014/main" val="10002"/>
                  </a:ext>
                </a:extLst>
              </a:tr>
              <a:tr h="1905000">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Multiple</a:t>
                      </a:r>
                      <a:r>
                        <a:rPr lang="en-US" sz="1600" b="0" baseline="0">
                          <a:latin typeface="Segoe UI Semibold" panose="020B0702040204020203" pitchFamily="34" charset="0"/>
                          <a:cs typeface="Segoe UI Semibold" panose="020B0702040204020203" pitchFamily="34" charset="0"/>
                        </a:rPr>
                        <a:t> NIC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0" indent="0" algn="l">
                        <a:buFontTx/>
                        <a:buNone/>
                      </a:pPr>
                      <a:r>
                        <a:rPr lang="en-US" sz="1600" dirty="0"/>
                        <a:t>Consider the following limitations before using multi-NIC VMs:</a:t>
                      </a:r>
                    </a:p>
                    <a:p>
                      <a:pPr marL="285750" indent="-285750" algn="l">
                        <a:buFont typeface="Arial" panose="020B0604020202020204" pitchFamily="34" charset="0"/>
                        <a:buChar char="•"/>
                      </a:pPr>
                      <a:r>
                        <a:rPr lang="en-US" sz="1600" baseline="0" dirty="0"/>
                        <a:t>NICs in Azure VMs cannot forward traffic or act as Layer 3 (IP) gateways.</a:t>
                      </a:r>
                    </a:p>
                    <a:p>
                      <a:pPr marL="285750" indent="-285750" algn="l">
                        <a:buFont typeface="Arial" panose="020B0604020202020204" pitchFamily="34" charset="0"/>
                        <a:buChar char="•"/>
                      </a:pPr>
                      <a:r>
                        <a:rPr lang="en-US" sz="1600" baseline="0" dirty="0"/>
                        <a:t>The order of the NICs inside the VM will be random, but the IP addresses and the corresponding MACs will remain the same.</a:t>
                      </a:r>
                    </a:p>
                  </a:txBody>
                  <a:tcPr marL="68583" marR="68583" marT="34291" marB="34291"/>
                </a:tc>
                <a:extLst>
                  <a:ext uri="{0D108BD9-81ED-4DB2-BD59-A6C34878D82A}">
                    <a16:rowId xmlns:a16="http://schemas.microsoft.com/office/drawing/2014/main" val="10003"/>
                  </a:ext>
                </a:extLst>
              </a:tr>
              <a:tr h="681501">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Density</a:t>
                      </a:r>
                    </a:p>
                  </a:txBody>
                  <a:tcPr marL="68583" marR="68583" marT="34291" marB="34291"/>
                </a:tc>
                <a:tc>
                  <a:txBody>
                    <a:bodyPr/>
                    <a:lstStyle/>
                    <a:p>
                      <a:pPr marL="285750" indent="-285750" algn="l">
                        <a:buFont typeface="Arial" panose="020B0604020202020204" pitchFamily="34" charset="0"/>
                        <a:buChar char="•"/>
                      </a:pPr>
                      <a:r>
                        <a:rPr lang="en-US" sz="1600" baseline="0" dirty="0"/>
                        <a:t>Consider creating a new </a:t>
                      </a:r>
                      <a:r>
                        <a:rPr lang="en-US" sz="1600" baseline="0" dirty="0" err="1"/>
                        <a:t>VNet</a:t>
                      </a:r>
                      <a:r>
                        <a:rPr lang="en-US" sz="1600" baseline="0" dirty="0"/>
                        <a:t> and extend the network by connecting the </a:t>
                      </a:r>
                      <a:r>
                        <a:rPr lang="en-US" sz="1600" baseline="0" dirty="0" err="1"/>
                        <a:t>VNets</a:t>
                      </a:r>
                      <a:r>
                        <a:rPr lang="en-US" sz="1600" baseline="0" dirty="0"/>
                        <a:t> altogether to avoid the </a:t>
                      </a:r>
                      <a:r>
                        <a:rPr lang="en-US" sz="1600" baseline="0" dirty="0" err="1"/>
                        <a:t>VNet</a:t>
                      </a:r>
                      <a:r>
                        <a:rPr lang="en-US" sz="1600" baseline="0" dirty="0"/>
                        <a:t> VM limit of 2048.</a:t>
                      </a:r>
                    </a:p>
                  </a:txBody>
                  <a:tcPr marL="68583" marR="68583" marT="34291" marB="34291"/>
                </a:tc>
                <a:extLst>
                  <a:ext uri="{0D108BD9-81ED-4DB2-BD59-A6C34878D82A}">
                    <a16:rowId xmlns:a16="http://schemas.microsoft.com/office/drawing/2014/main" val="10004"/>
                  </a:ext>
                </a:extLst>
              </a:tr>
              <a:tr h="475733">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Concurrent</a:t>
                      </a:r>
                      <a:r>
                        <a:rPr lang="en-US" sz="1600" b="0" baseline="0">
                          <a:latin typeface="Segoe UI Semibold" panose="020B0702040204020203" pitchFamily="34" charset="0"/>
                          <a:cs typeface="Segoe UI Semibold" panose="020B0702040204020203" pitchFamily="34" charset="0"/>
                        </a:rPr>
                        <a:t> TCP connection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600" baseline="0" dirty="0"/>
                        <a:t>Consider the limit of TCP connections for a VM: 500K.</a:t>
                      </a:r>
                    </a:p>
                  </a:txBody>
                  <a:tcPr marL="68583" marR="68583" marT="34291" marB="3429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41939820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366169" y="2659062"/>
            <a:ext cx="11690437" cy="1181862"/>
          </a:xfrm>
          <a:prstGeom prst="rect">
            <a:avLst/>
          </a:prstGeom>
          <a:noFill/>
        </p:spPr>
        <p:txBody>
          <a:bodyPr vert="horz" wrap="square" lIns="146304" tIns="91440" rIns="146304" bIns="91440" rtlCol="0" anchor="t" anchorCtr="0">
            <a:spAutoFit/>
          </a:bodyPr>
          <a:lstStyle>
            <a:lvl1pPr algn="l" defTabSz="932649" rtl="0" eaLnBrk="1" latinLnBrk="0" hangingPunct="1">
              <a:lnSpc>
                <a:spcPct val="90000"/>
              </a:lnSpc>
              <a:spcBef>
                <a:spcPct val="0"/>
              </a:spcBef>
              <a:buNone/>
              <a:defRPr lang="en-US" sz="7199"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ctr"/>
            <a:r>
              <a:rPr lang="en-CA" sz="7200" dirty="0">
                <a:gradFill>
                  <a:gsLst>
                    <a:gs pos="100000">
                      <a:srgbClr val="FFFFFF"/>
                    </a:gs>
                    <a:gs pos="0">
                      <a:srgbClr val="FFFFFF"/>
                    </a:gs>
                  </a:gsLst>
                  <a:lin ang="5400000" scaled="0"/>
                </a:gradFill>
              </a:rPr>
              <a:t>Virtual Machine Overview</a:t>
            </a:r>
            <a:endParaRPr lang="en-CA" sz="8000" dirty="0">
              <a:gradFill>
                <a:gsLst>
                  <a:gs pos="100000">
                    <a:srgbClr val="FFFFFF"/>
                  </a:gs>
                  <a:gs pos="0">
                    <a:srgbClr val="FFFFFF"/>
                  </a:gs>
                </a:gsLst>
                <a:lin ang="5400000" scaled="0"/>
              </a:gradFill>
            </a:endParaRPr>
          </a:p>
        </p:txBody>
      </p:sp>
      <p:pic>
        <p:nvPicPr>
          <p:cNvPr id="5" name="Picture 4">
            <a:extLst>
              <a:ext uri="{FF2B5EF4-FFF2-40B4-BE49-F238E27FC236}">
                <a16:creationId xmlns:a16="http://schemas.microsoft.com/office/drawing/2014/main" id="{3150D461-8773-4681-B894-E0492BA228EA}"/>
              </a:ext>
            </a:extLst>
          </p:cNvPr>
          <p:cNvPicPr>
            <a:picLocks noChangeAspect="1"/>
          </p:cNvPicPr>
          <p:nvPr/>
        </p:nvPicPr>
        <p:blipFill>
          <a:blip r:embed="rId3"/>
          <a:stretch>
            <a:fillRect/>
          </a:stretch>
        </p:blipFill>
        <p:spPr>
          <a:xfrm>
            <a:off x="4752299" y="4365210"/>
            <a:ext cx="1459088" cy="1571634"/>
          </a:xfrm>
          <a:prstGeom prst="rect">
            <a:avLst/>
          </a:prstGeom>
        </p:spPr>
      </p:pic>
    </p:spTree>
    <p:extLst>
      <p:ext uri="{BB962C8B-B14F-4D97-AF65-F5344CB8AC3E}">
        <p14:creationId xmlns:p14="http://schemas.microsoft.com/office/powerpoint/2010/main" val="61702519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IaaS considerations – Management decisions</a:t>
            </a:r>
          </a:p>
        </p:txBody>
      </p:sp>
      <p:graphicFrame>
        <p:nvGraphicFramePr>
          <p:cNvPr id="6" name="Table 5"/>
          <p:cNvGraphicFramePr>
            <a:graphicFrameLocks noGrp="1"/>
          </p:cNvGraphicFramePr>
          <p:nvPr>
            <p:extLst/>
          </p:nvPr>
        </p:nvGraphicFramePr>
        <p:xfrm>
          <a:off x="550935" y="1287464"/>
          <a:ext cx="10058400" cy="5436092"/>
        </p:xfrm>
        <a:graphic>
          <a:graphicData uri="http://schemas.openxmlformats.org/drawingml/2006/table">
            <a:tbl>
              <a:tblPr firstRow="1" bandRow="1">
                <a:tableStyleId>{5C22544A-7EE6-4342-B048-85BDC9FD1C3A}</a:tableStyleId>
              </a:tblPr>
              <a:tblGrid>
                <a:gridCol w="2863850">
                  <a:extLst>
                    <a:ext uri="{9D8B030D-6E8A-4147-A177-3AD203B41FA5}">
                      <a16:colId xmlns:a16="http://schemas.microsoft.com/office/drawing/2014/main" val="20000"/>
                    </a:ext>
                  </a:extLst>
                </a:gridCol>
                <a:gridCol w="7194550">
                  <a:extLst>
                    <a:ext uri="{9D8B030D-6E8A-4147-A177-3AD203B41FA5}">
                      <a16:colId xmlns:a16="http://schemas.microsoft.com/office/drawing/2014/main" val="20001"/>
                    </a:ext>
                  </a:extLst>
                </a:gridCol>
              </a:tblGrid>
              <a:tr h="639249">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Considerations</a:t>
                      </a:r>
                    </a:p>
                  </a:txBody>
                  <a:tcPr marL="68583" marR="68583" marT="34291" marB="34291"/>
                </a:tc>
                <a:tc>
                  <a:txBody>
                    <a:bodyPr/>
                    <a:lstStyle/>
                    <a:p>
                      <a:pPr marL="0" algn="ctr" defTabSz="699463" rtl="0" eaLnBrk="1" latinLnBrk="0" hangingPunct="1"/>
                      <a:r>
                        <a:rPr lang="en-US" sz="2000" b="0" kern="1200">
                          <a:solidFill>
                            <a:schemeClr val="lt1"/>
                          </a:solidFill>
                          <a:latin typeface="Segoe UI Semibold" panose="020B0702040204020203" pitchFamily="34" charset="0"/>
                          <a:ea typeface="+mn-ea"/>
                          <a:cs typeface="Segoe UI Semibold" panose="020B0702040204020203" pitchFamily="34" charset="0"/>
                        </a:rPr>
                        <a:t>Decision Points</a:t>
                      </a:r>
                    </a:p>
                  </a:txBody>
                  <a:tcPr marL="68583" marR="68583" marT="34291" marB="34291"/>
                </a:tc>
                <a:extLst>
                  <a:ext uri="{0D108BD9-81ED-4DB2-BD59-A6C34878D82A}">
                    <a16:rowId xmlns:a16="http://schemas.microsoft.com/office/drawing/2014/main" val="10000"/>
                  </a:ext>
                </a:extLst>
              </a:tr>
              <a:tr h="405385">
                <a:tc>
                  <a:txBody>
                    <a:bodyPr/>
                    <a:lstStyle/>
                    <a:p>
                      <a:pPr lvl="0" algn="ctr"/>
                      <a:r>
                        <a:rPr lang="en-US" sz="1600" b="0">
                          <a:latin typeface="Segoe UI Semibold" panose="020B0702040204020203" pitchFamily="34" charset="0"/>
                          <a:cs typeface="Segoe UI Semibold" panose="020B0702040204020203" pitchFamily="34" charset="0"/>
                        </a:rPr>
                        <a:t>IIS</a:t>
                      </a:r>
                      <a:r>
                        <a:rPr lang="en-US" sz="1600" b="0" baseline="0">
                          <a:latin typeface="Segoe UI Semibold" panose="020B0702040204020203" pitchFamily="34" charset="0"/>
                          <a:cs typeface="Segoe UI Semibold" panose="020B0702040204020203" pitchFamily="34" charset="0"/>
                        </a:rPr>
                        <a:t> log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buFont typeface="Arial" panose="020B0604020202020204" pitchFamily="34" charset="0"/>
                        <a:buChar char="•"/>
                      </a:pPr>
                      <a:r>
                        <a:rPr lang="en-US" sz="1600" baseline="0"/>
                        <a:t>Consider gathering information about IIS websites.</a:t>
                      </a:r>
                    </a:p>
                  </a:txBody>
                  <a:tcPr marL="68583" marR="68583" marT="34291" marB="34291"/>
                </a:tc>
                <a:extLst>
                  <a:ext uri="{0D108BD9-81ED-4DB2-BD59-A6C34878D82A}">
                    <a16:rowId xmlns:a16="http://schemas.microsoft.com/office/drawing/2014/main" val="10001"/>
                  </a:ext>
                </a:extLst>
              </a:tr>
              <a:tr h="696397">
                <a:tc>
                  <a:txBody>
                    <a:bodyPr/>
                    <a:lstStyle/>
                    <a:p>
                      <a:pPr lvl="0" algn="ctr"/>
                      <a:r>
                        <a:rPr lang="en-US" sz="1600" b="0" kern="1200">
                          <a:solidFill>
                            <a:schemeClr val="dk1"/>
                          </a:solidFill>
                          <a:effectLst/>
                          <a:latin typeface="Segoe UI Semibold" panose="020B0702040204020203" pitchFamily="34" charset="0"/>
                          <a:ea typeface="+mn-ea"/>
                          <a:cs typeface="Segoe UI Semibold" panose="020B0702040204020203" pitchFamily="34" charset="0"/>
                        </a:rPr>
                        <a:t>Azure diagnostic infrastructure</a:t>
                      </a:r>
                      <a:r>
                        <a:rPr lang="en-US" sz="1600" b="0" kern="1200" baseline="0">
                          <a:solidFill>
                            <a:schemeClr val="dk1"/>
                          </a:solidFill>
                          <a:effectLst/>
                          <a:latin typeface="Segoe UI Semibold" panose="020B0702040204020203" pitchFamily="34" charset="0"/>
                          <a:ea typeface="+mn-ea"/>
                          <a:cs typeface="Segoe UI Semibold" panose="020B0702040204020203" pitchFamily="34" charset="0"/>
                        </a:rPr>
                        <a:t> log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marR="0" indent="-285750" algn="l" defTabSz="9325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a:t>Consider gathering information about diagnostics itself.</a:t>
                      </a:r>
                    </a:p>
                  </a:txBody>
                  <a:tcPr marL="68583" marR="68583" marT="34291" marB="34291"/>
                </a:tc>
                <a:extLst>
                  <a:ext uri="{0D108BD9-81ED-4DB2-BD59-A6C34878D82A}">
                    <a16:rowId xmlns:a16="http://schemas.microsoft.com/office/drawing/2014/main" val="10002"/>
                  </a:ext>
                </a:extLst>
              </a:tr>
              <a:tr h="495302">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IIS</a:t>
                      </a:r>
                      <a:r>
                        <a:rPr lang="en-US" sz="1600" b="0" baseline="0">
                          <a:latin typeface="Segoe UI Semibold" panose="020B0702040204020203" pitchFamily="34" charset="0"/>
                          <a:cs typeface="Segoe UI Semibold" panose="020B0702040204020203" pitchFamily="34" charset="0"/>
                        </a:rPr>
                        <a:t> failed request log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600" baseline="0"/>
                        <a:t>Consider gathering information about failed requests to an IIS site or application.</a:t>
                      </a:r>
                      <a:endParaRPr lang="en-US" sz="1600"/>
                    </a:p>
                  </a:txBody>
                  <a:tcPr marL="68583" marR="68583" marT="34291" marB="34291"/>
                </a:tc>
                <a:extLst>
                  <a:ext uri="{0D108BD9-81ED-4DB2-BD59-A6C34878D82A}">
                    <a16:rowId xmlns:a16="http://schemas.microsoft.com/office/drawing/2014/main" val="10003"/>
                  </a:ext>
                </a:extLst>
              </a:tr>
              <a:tr h="584519">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Windows</a:t>
                      </a:r>
                      <a:r>
                        <a:rPr lang="en-US" sz="1600" b="0" baseline="0">
                          <a:latin typeface="Segoe UI Semibold" panose="020B0702040204020203" pitchFamily="34" charset="0"/>
                          <a:cs typeface="Segoe UI Semibold" panose="020B0702040204020203" pitchFamily="34" charset="0"/>
                        </a:rPr>
                        <a:t> event log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600" baseline="0"/>
                        <a:t>Consider gathering information sent to the Windows Event Logging System.</a:t>
                      </a:r>
                    </a:p>
                  </a:txBody>
                  <a:tcPr marL="68583" marR="68583" marT="34291" marB="34291"/>
                </a:tc>
                <a:extLst>
                  <a:ext uri="{0D108BD9-81ED-4DB2-BD59-A6C34878D82A}">
                    <a16:rowId xmlns:a16="http://schemas.microsoft.com/office/drawing/2014/main" val="10004"/>
                  </a:ext>
                </a:extLst>
              </a:tr>
              <a:tr h="571245">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Performance counters</a:t>
                      </a:r>
                    </a:p>
                  </a:txBody>
                  <a:tcPr marL="68583" marR="68583" marT="34291" marB="34291"/>
                </a:tc>
                <a:tc>
                  <a:txBody>
                    <a:bodyPr/>
                    <a:lstStyle/>
                    <a:p>
                      <a:pPr marL="285750" indent="-285750" algn="l">
                        <a:buFont typeface="Arial" panose="020B0604020202020204" pitchFamily="34" charset="0"/>
                        <a:buChar char="•"/>
                      </a:pPr>
                      <a:r>
                        <a:rPr lang="en-US" sz="1600" baseline="0"/>
                        <a:t>Consider gathering OS and custom performance counters.</a:t>
                      </a:r>
                    </a:p>
                  </a:txBody>
                  <a:tcPr marL="68583" marR="68583" marT="34291" marB="34291"/>
                </a:tc>
                <a:extLst>
                  <a:ext uri="{0D108BD9-81ED-4DB2-BD59-A6C34878D82A}">
                    <a16:rowId xmlns:a16="http://schemas.microsoft.com/office/drawing/2014/main" val="10005"/>
                  </a:ext>
                </a:extLst>
              </a:tr>
              <a:tr h="610709">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Crash dumps</a:t>
                      </a:r>
                    </a:p>
                  </a:txBody>
                  <a:tcPr marL="68583" marR="68583" marT="34291" marB="34291"/>
                </a:tc>
                <a:tc>
                  <a:txBody>
                    <a:bodyPr/>
                    <a:lstStyle/>
                    <a:p>
                      <a:pPr marL="285750" indent="-285750" algn="l">
                        <a:buFont typeface="Arial" panose="020B0604020202020204" pitchFamily="34" charset="0"/>
                        <a:buChar char="•"/>
                      </a:pPr>
                      <a:r>
                        <a:rPr lang="en-US" sz="1600" baseline="0"/>
                        <a:t>Consider gathering information about the state of the process in the event of an application crash.</a:t>
                      </a:r>
                    </a:p>
                  </a:txBody>
                  <a:tcPr marL="68583" marR="68583" marT="34291" marB="34291"/>
                </a:tc>
                <a:extLst>
                  <a:ext uri="{0D108BD9-81ED-4DB2-BD59-A6C34878D82A}">
                    <a16:rowId xmlns:a16="http://schemas.microsoft.com/office/drawing/2014/main" val="10006"/>
                  </a:ext>
                </a:extLst>
              </a:tr>
              <a:tr h="408032">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Custom</a:t>
                      </a:r>
                      <a:r>
                        <a:rPr lang="en-US" sz="1600" b="0" baseline="0">
                          <a:latin typeface="Segoe UI Semibold" panose="020B0702040204020203" pitchFamily="34" charset="0"/>
                          <a:cs typeface="Segoe UI Semibold" panose="020B0702040204020203" pitchFamily="34" charset="0"/>
                        </a:rPr>
                        <a:t> error logs</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600" baseline="0"/>
                        <a:t>Consider gathering logs created by your application or service.</a:t>
                      </a:r>
                    </a:p>
                  </a:txBody>
                  <a:tcPr marL="68583" marR="68583" marT="34291" marB="34291"/>
                </a:tc>
                <a:extLst>
                  <a:ext uri="{0D108BD9-81ED-4DB2-BD59-A6C34878D82A}">
                    <a16:rowId xmlns:a16="http://schemas.microsoft.com/office/drawing/2014/main" val="10007"/>
                  </a:ext>
                </a:extLst>
              </a:tr>
              <a:tr h="495302">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NET </a:t>
                      </a:r>
                      <a:r>
                        <a:rPr lang="en-US" sz="1600" b="0" err="1">
                          <a:latin typeface="Segoe UI Semibold" panose="020B0702040204020203" pitchFamily="34" charset="0"/>
                          <a:cs typeface="Segoe UI Semibold" panose="020B0702040204020203" pitchFamily="34" charset="0"/>
                        </a:rPr>
                        <a:t>EventSource</a:t>
                      </a:r>
                      <a:endParaRPr lang="en-US" sz="1600" b="0">
                        <a:latin typeface="Segoe UI Semibold" panose="020B0702040204020203" pitchFamily="34" charset="0"/>
                        <a:cs typeface="Segoe UI Semibold" panose="020B0702040204020203" pitchFamily="34" charset="0"/>
                      </a:endParaRPr>
                    </a:p>
                  </a:txBody>
                  <a:tcPr marL="68583" marR="68583" marT="34291" marB="34291"/>
                </a:tc>
                <a:tc>
                  <a:txBody>
                    <a:bodyPr/>
                    <a:lstStyle/>
                    <a:p>
                      <a:pPr marL="285750" indent="-285750" algn="l">
                        <a:buFont typeface="Arial" panose="020B0604020202020204" pitchFamily="34" charset="0"/>
                        <a:buChar char="•"/>
                      </a:pPr>
                      <a:r>
                        <a:rPr lang="en-US" sz="1600" baseline="0"/>
                        <a:t>Consider gathering events generated by your code using .NET </a:t>
                      </a:r>
                      <a:r>
                        <a:rPr lang="en-US" sz="1600" baseline="0" err="1"/>
                        <a:t>EventSource</a:t>
                      </a:r>
                      <a:r>
                        <a:rPr lang="en-US" sz="1600" baseline="0"/>
                        <a:t> class.</a:t>
                      </a:r>
                    </a:p>
                  </a:txBody>
                  <a:tcPr marL="68583" marR="68583" marT="34291" marB="34291"/>
                </a:tc>
                <a:extLst>
                  <a:ext uri="{0D108BD9-81ED-4DB2-BD59-A6C34878D82A}">
                    <a16:rowId xmlns:a16="http://schemas.microsoft.com/office/drawing/2014/main" val="10008"/>
                  </a:ext>
                </a:extLst>
              </a:tr>
              <a:tr h="408032">
                <a:tc>
                  <a:txBody>
                    <a:bodyPr/>
                    <a:lstStyle/>
                    <a:p>
                      <a:pPr marL="0" marR="0" lvl="0" indent="0" algn="ctr" defTabSz="932594" rtl="0" eaLnBrk="1" fontAlgn="auto" latinLnBrk="0" hangingPunct="1">
                        <a:lnSpc>
                          <a:spcPct val="100000"/>
                        </a:lnSpc>
                        <a:spcBef>
                          <a:spcPts val="0"/>
                        </a:spcBef>
                        <a:spcAft>
                          <a:spcPts val="0"/>
                        </a:spcAft>
                        <a:buClrTx/>
                        <a:buSzTx/>
                        <a:buFontTx/>
                        <a:buNone/>
                        <a:tabLst/>
                        <a:defRPr/>
                      </a:pPr>
                      <a:r>
                        <a:rPr lang="en-US" sz="1600" b="0">
                          <a:latin typeface="Segoe UI Semibold" panose="020B0702040204020203" pitchFamily="34" charset="0"/>
                          <a:cs typeface="Segoe UI Semibold" panose="020B0702040204020203" pitchFamily="34" charset="0"/>
                        </a:rPr>
                        <a:t>Manifest-based ETW</a:t>
                      </a:r>
                    </a:p>
                  </a:txBody>
                  <a:tcPr marL="68583" marR="68583" marT="34291" marB="34291"/>
                </a:tc>
                <a:tc>
                  <a:txBody>
                    <a:bodyPr/>
                    <a:lstStyle/>
                    <a:p>
                      <a:pPr marL="285750" indent="-285750" algn="l">
                        <a:buFont typeface="Arial" panose="020B0604020202020204" pitchFamily="34" charset="0"/>
                        <a:buChar char="•"/>
                      </a:pPr>
                      <a:r>
                        <a:rPr lang="en-US" sz="1600" baseline="0"/>
                        <a:t>Consider gathering ETW events generated by any process.</a:t>
                      </a:r>
                    </a:p>
                  </a:txBody>
                  <a:tcPr marL="68583" marR="68583" marT="34291" marB="34291"/>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4187123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932594"/>
            <a:r>
              <a:rPr lang="en-US" sz="4800" spc="-101"/>
              <a:t>Virtual Machines</a:t>
            </a:r>
          </a:p>
        </p:txBody>
      </p:sp>
      <p:sp>
        <p:nvSpPr>
          <p:cNvPr id="6" name="Text Placeholder 2"/>
          <p:cNvSpPr txBox="1">
            <a:spLocks/>
          </p:cNvSpPr>
          <p:nvPr/>
        </p:nvSpPr>
        <p:spPr>
          <a:xfrm>
            <a:off x="366169" y="1255713"/>
            <a:ext cx="7984875" cy="738664"/>
          </a:xfrm>
          <a:prstGeom prst="rect">
            <a:avLst/>
          </a:prstGeom>
        </p:spPr>
        <p:txBody>
          <a:bodyPr vert="horz" wrap="square" lIns="146304" tIns="91440" rIns="146304" bIns="91440" rtlCol="0">
            <a:spAutoFit/>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000">
                <a:solidFill>
                  <a:schemeClr val="tx2"/>
                </a:solidFill>
              </a:rPr>
              <a:t>At a high level, Azure Virtual Machines (VMs) provide traditional virtualized server infrastructure to deploy a given application or service. </a:t>
            </a:r>
          </a:p>
        </p:txBody>
      </p:sp>
      <p:grpSp>
        <p:nvGrpSpPr>
          <p:cNvPr id="96" name="Group 95"/>
          <p:cNvGrpSpPr/>
          <p:nvPr/>
        </p:nvGrpSpPr>
        <p:grpSpPr>
          <a:xfrm>
            <a:off x="-259556" y="2297840"/>
            <a:ext cx="12098384" cy="4171222"/>
            <a:chOff x="-1075848" y="2278062"/>
            <a:chExt cx="12098384" cy="4171222"/>
          </a:xfrm>
        </p:grpSpPr>
        <p:sp>
          <p:nvSpPr>
            <p:cNvPr id="51" name="Rectangle 50"/>
            <p:cNvSpPr/>
            <p:nvPr/>
          </p:nvSpPr>
          <p:spPr bwMode="auto">
            <a:xfrm>
              <a:off x="2407444" y="4993877"/>
              <a:ext cx="4953000" cy="1357893"/>
            </a:xfrm>
            <a:prstGeom prst="rect">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600">
                <a:solidFill>
                  <a:srgbClr val="0078D7"/>
                </a:solidFill>
                <a:ea typeface="Segoe UI" pitchFamily="34" charset="0"/>
                <a:cs typeface="Segoe UI" pitchFamily="34" charset="0"/>
              </a:endParaRPr>
            </a:p>
          </p:txBody>
        </p:sp>
        <p:sp>
          <p:nvSpPr>
            <p:cNvPr id="44" name="Oval 43"/>
            <p:cNvSpPr/>
            <p:nvPr/>
          </p:nvSpPr>
          <p:spPr bwMode="auto">
            <a:xfrm>
              <a:off x="763977" y="4951090"/>
              <a:ext cx="979118" cy="9791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2" name="Straight Connector 11"/>
            <p:cNvCxnSpPr>
              <a:cxnSpLocks/>
            </p:cNvCxnSpPr>
            <p:nvPr/>
          </p:nvCxnSpPr>
          <p:spPr>
            <a:xfrm>
              <a:off x="10256044" y="3932678"/>
              <a:ext cx="0" cy="1297333"/>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Freeform 5"/>
            <p:cNvSpPr>
              <a:spLocks/>
            </p:cNvSpPr>
            <p:nvPr/>
          </p:nvSpPr>
          <p:spPr bwMode="auto">
            <a:xfrm>
              <a:off x="1338198" y="2278062"/>
              <a:ext cx="7160012" cy="4171222"/>
            </a:xfrm>
            <a:custGeom>
              <a:avLst/>
              <a:gdLst>
                <a:gd name="T0" fmla="*/ 1143 w 1364"/>
                <a:gd name="T1" fmla="*/ 323 h 793"/>
                <a:gd name="T2" fmla="*/ 1143 w 1364"/>
                <a:gd name="T3" fmla="*/ 304 h 793"/>
                <a:gd name="T4" fmla="*/ 839 w 1364"/>
                <a:gd name="T5" fmla="*/ 0 h 793"/>
                <a:gd name="T6" fmla="*/ 562 w 1364"/>
                <a:gd name="T7" fmla="*/ 179 h 793"/>
                <a:gd name="T8" fmla="*/ 410 w 1364"/>
                <a:gd name="T9" fmla="*/ 124 h 793"/>
                <a:gd name="T10" fmla="*/ 175 w 1364"/>
                <a:gd name="T11" fmla="*/ 359 h 793"/>
                <a:gd name="T12" fmla="*/ 180 w 1364"/>
                <a:gd name="T13" fmla="*/ 409 h 793"/>
                <a:gd name="T14" fmla="*/ 0 w 1364"/>
                <a:gd name="T15" fmla="*/ 594 h 793"/>
                <a:gd name="T16" fmla="*/ 191 w 1364"/>
                <a:gd name="T17" fmla="*/ 793 h 793"/>
                <a:gd name="T18" fmla="*/ 194 w 1364"/>
                <a:gd name="T19" fmla="*/ 793 h 793"/>
                <a:gd name="T20" fmla="*/ 1129 w 1364"/>
                <a:gd name="T21" fmla="*/ 790 h 793"/>
                <a:gd name="T22" fmla="*/ 1364 w 1364"/>
                <a:gd name="T23" fmla="*/ 555 h 793"/>
                <a:gd name="T24" fmla="*/ 1143 w 1364"/>
                <a:gd name="T25" fmla="*/ 323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4" h="793">
                  <a:moveTo>
                    <a:pt x="1143" y="323"/>
                  </a:moveTo>
                  <a:cubicBezTo>
                    <a:pt x="1143" y="315"/>
                    <a:pt x="1143" y="309"/>
                    <a:pt x="1143" y="304"/>
                  </a:cubicBezTo>
                  <a:cubicBezTo>
                    <a:pt x="1143" y="135"/>
                    <a:pt x="1007" y="0"/>
                    <a:pt x="839" y="0"/>
                  </a:cubicBezTo>
                  <a:cubicBezTo>
                    <a:pt x="714" y="0"/>
                    <a:pt x="609" y="75"/>
                    <a:pt x="562" y="179"/>
                  </a:cubicBezTo>
                  <a:cubicBezTo>
                    <a:pt x="520" y="144"/>
                    <a:pt x="468" y="124"/>
                    <a:pt x="410" y="124"/>
                  </a:cubicBezTo>
                  <a:cubicBezTo>
                    <a:pt x="282" y="124"/>
                    <a:pt x="175" y="232"/>
                    <a:pt x="175" y="359"/>
                  </a:cubicBezTo>
                  <a:cubicBezTo>
                    <a:pt x="175" y="378"/>
                    <a:pt x="177" y="392"/>
                    <a:pt x="180" y="409"/>
                  </a:cubicBezTo>
                  <a:cubicBezTo>
                    <a:pt x="80" y="417"/>
                    <a:pt x="0" y="489"/>
                    <a:pt x="0" y="594"/>
                  </a:cubicBezTo>
                  <a:cubicBezTo>
                    <a:pt x="0" y="701"/>
                    <a:pt x="83" y="790"/>
                    <a:pt x="191" y="793"/>
                  </a:cubicBezTo>
                  <a:cubicBezTo>
                    <a:pt x="194" y="793"/>
                    <a:pt x="194" y="793"/>
                    <a:pt x="194" y="793"/>
                  </a:cubicBezTo>
                  <a:cubicBezTo>
                    <a:pt x="1129" y="790"/>
                    <a:pt x="1129" y="790"/>
                    <a:pt x="1129" y="790"/>
                  </a:cubicBezTo>
                  <a:cubicBezTo>
                    <a:pt x="1259" y="790"/>
                    <a:pt x="1364" y="688"/>
                    <a:pt x="1364" y="555"/>
                  </a:cubicBezTo>
                  <a:cubicBezTo>
                    <a:pt x="1364" y="431"/>
                    <a:pt x="1267" y="329"/>
                    <a:pt x="1143" y="323"/>
                  </a:cubicBezTo>
                  <a:close/>
                </a:path>
              </a:pathLst>
            </a:custGeom>
            <a:noFill/>
            <a:ln w="19050" cap="rnd">
              <a:solidFill>
                <a:srgbClr val="0078D7"/>
              </a:solid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7" name="Graphic 26"/>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24602" y="3316287"/>
              <a:ext cx="628650" cy="485775"/>
            </a:xfrm>
            <a:prstGeom prst="rect">
              <a:avLst/>
            </a:prstGeom>
          </p:spPr>
        </p:pic>
        <p:sp>
          <p:nvSpPr>
            <p:cNvPr id="30" name="Rectangle 29"/>
            <p:cNvSpPr/>
            <p:nvPr/>
          </p:nvSpPr>
          <p:spPr bwMode="auto">
            <a:xfrm>
              <a:off x="8836078" y="3676693"/>
              <a:ext cx="1260450" cy="5119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Portal</a:t>
              </a:r>
            </a:p>
          </p:txBody>
        </p:sp>
        <p:sp>
          <p:nvSpPr>
            <p:cNvPr id="31" name="Rectangle 30"/>
            <p:cNvSpPr/>
            <p:nvPr/>
          </p:nvSpPr>
          <p:spPr bwMode="auto">
            <a:xfrm>
              <a:off x="8836078" y="4974026"/>
              <a:ext cx="1260450" cy="5119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REST API</a:t>
              </a:r>
            </a:p>
          </p:txBody>
        </p:sp>
        <p:cxnSp>
          <p:nvCxnSpPr>
            <p:cNvPr id="36" name="Straight Connector 35"/>
            <p:cNvCxnSpPr>
              <a:cxnSpLocks/>
            </p:cNvCxnSpPr>
            <p:nvPr/>
          </p:nvCxnSpPr>
          <p:spPr>
            <a:xfrm>
              <a:off x="10089161" y="5235380"/>
              <a:ext cx="166883"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9" name="Graphic 38"/>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93911" y="4295276"/>
              <a:ext cx="428625" cy="514350"/>
            </a:xfrm>
            <a:prstGeom prst="rect">
              <a:avLst/>
            </a:prstGeom>
          </p:spPr>
        </p:pic>
        <p:cxnSp>
          <p:nvCxnSpPr>
            <p:cNvPr id="41" name="Straight Connector 40"/>
            <p:cNvCxnSpPr>
              <a:cxnSpLocks/>
            </p:cNvCxnSpPr>
            <p:nvPr/>
          </p:nvCxnSpPr>
          <p:spPr>
            <a:xfrm>
              <a:off x="10089161" y="3932677"/>
              <a:ext cx="166883"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p:cNvCxnSpPr>
            <p:nvPr/>
          </p:nvCxnSpPr>
          <p:spPr>
            <a:xfrm>
              <a:off x="10256044" y="4584172"/>
              <a:ext cx="166883"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3" name="Graphic 42"/>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96361" y="5183474"/>
              <a:ext cx="514350" cy="514350"/>
            </a:xfrm>
            <a:prstGeom prst="rect">
              <a:avLst/>
            </a:prstGeom>
          </p:spPr>
        </p:pic>
        <p:cxnSp>
          <p:nvCxnSpPr>
            <p:cNvPr id="55" name="Straight Connector 54"/>
            <p:cNvCxnSpPr>
              <a:cxnSpLocks/>
              <a:stCxn id="51" idx="0"/>
              <a:endCxn id="51" idx="2"/>
            </p:cNvCxnSpPr>
            <p:nvPr/>
          </p:nvCxnSpPr>
          <p:spPr>
            <a:xfrm>
              <a:off x="4883944" y="4993877"/>
              <a:ext cx="0" cy="1357893"/>
            </a:xfrm>
            <a:prstGeom prst="line">
              <a:avLst/>
            </a:prstGeom>
            <a:ln w="19050" cap="rnd">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3638927" y="4106862"/>
              <a:ext cx="0" cy="867164"/>
            </a:xfrm>
            <a:prstGeom prst="line">
              <a:avLst/>
            </a:prstGeom>
            <a:ln w="19050" cap="rnd">
              <a:solidFill>
                <a:srgbClr val="002050"/>
              </a:solidFill>
              <a:prstDash val="solid"/>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auto">
            <a:xfrm>
              <a:off x="2407444" y="5930208"/>
              <a:ext cx="2476500" cy="421562"/>
            </a:xfrm>
            <a:prstGeom prst="rect">
              <a:avLst/>
            </a:prstGeom>
            <a:solidFill>
              <a:srgbClr val="0078D7"/>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Gallery</a:t>
              </a:r>
            </a:p>
          </p:txBody>
        </p:sp>
        <p:sp>
          <p:nvSpPr>
            <p:cNvPr id="71" name="Rectangle 70"/>
            <p:cNvSpPr/>
            <p:nvPr/>
          </p:nvSpPr>
          <p:spPr bwMode="auto">
            <a:xfrm>
              <a:off x="4877177" y="5930208"/>
              <a:ext cx="2490887" cy="421562"/>
            </a:xfrm>
            <a:prstGeom prst="rect">
              <a:avLst/>
            </a:prstGeom>
            <a:solidFill>
              <a:srgbClr val="0078D7"/>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User</a:t>
              </a:r>
            </a:p>
          </p:txBody>
        </p:sp>
        <p:grpSp>
          <p:nvGrpSpPr>
            <p:cNvPr id="91" name="Group 90"/>
            <p:cNvGrpSpPr/>
            <p:nvPr/>
          </p:nvGrpSpPr>
          <p:grpSpPr>
            <a:xfrm>
              <a:off x="2415064" y="5105082"/>
              <a:ext cx="4960416" cy="774686"/>
              <a:chOff x="2407444" y="5160976"/>
              <a:chExt cx="4960416" cy="774686"/>
            </a:xfrm>
          </p:grpSpPr>
          <p:sp>
            <p:nvSpPr>
              <p:cNvPr id="60" name="Rectangle 59"/>
              <p:cNvSpPr/>
              <p:nvPr/>
            </p:nvSpPr>
            <p:spPr>
              <a:xfrm>
                <a:off x="2407444" y="5695596"/>
                <a:ext cx="2476500" cy="240066"/>
              </a:xfrm>
              <a:prstGeom prst="rect">
                <a:avLst/>
              </a:prstGeom>
            </p:spPr>
            <p:txBody>
              <a:bodyPr wrap="square">
                <a:spAutoFit/>
              </a:bodyPr>
              <a:lstStyle/>
              <a:p>
                <a:pPr algn="ctr" defTabSz="932324" fontAlgn="base">
                  <a:lnSpc>
                    <a:spcPct val="80000"/>
                  </a:lnSpc>
                  <a:spcBef>
                    <a:spcPct val="0"/>
                  </a:spcBef>
                  <a:spcAft>
                    <a:spcPct val="0"/>
                  </a:spcAft>
                </a:pPr>
                <a:r>
                  <a:rPr lang="en-US" sz="1200" kern="0"/>
                  <a:t>VHD</a:t>
                </a:r>
              </a:p>
            </p:txBody>
          </p:sp>
          <p:pic>
            <p:nvPicPr>
              <p:cNvPr id="62" name="Graphic 61"/>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421857" y="5160976"/>
                <a:ext cx="447675" cy="495300"/>
              </a:xfrm>
              <a:prstGeom prst="rect">
                <a:avLst/>
              </a:prstGeom>
            </p:spPr>
          </p:pic>
          <p:sp>
            <p:nvSpPr>
              <p:cNvPr id="72" name="Rectangle 71"/>
              <p:cNvSpPr/>
              <p:nvPr/>
            </p:nvSpPr>
            <p:spPr>
              <a:xfrm>
                <a:off x="4891360" y="5695596"/>
                <a:ext cx="2476500" cy="240066"/>
              </a:xfrm>
              <a:prstGeom prst="rect">
                <a:avLst/>
              </a:prstGeom>
            </p:spPr>
            <p:txBody>
              <a:bodyPr wrap="square">
                <a:spAutoFit/>
              </a:bodyPr>
              <a:lstStyle/>
              <a:p>
                <a:pPr algn="ctr" defTabSz="932324" fontAlgn="base">
                  <a:lnSpc>
                    <a:spcPct val="80000"/>
                  </a:lnSpc>
                  <a:spcBef>
                    <a:spcPct val="0"/>
                  </a:spcBef>
                  <a:spcAft>
                    <a:spcPct val="0"/>
                  </a:spcAft>
                </a:pPr>
                <a:r>
                  <a:rPr lang="en-US" sz="1200" kern="0"/>
                  <a:t>VHD</a:t>
                </a:r>
              </a:p>
            </p:txBody>
          </p:sp>
          <p:pic>
            <p:nvPicPr>
              <p:cNvPr id="73" name="Graphic 72"/>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05773" y="5160976"/>
                <a:ext cx="447675" cy="495300"/>
              </a:xfrm>
              <a:prstGeom prst="rect">
                <a:avLst/>
              </a:prstGeom>
            </p:spPr>
          </p:pic>
        </p:grpSp>
        <p:grpSp>
          <p:nvGrpSpPr>
            <p:cNvPr id="81" name="Group 80"/>
            <p:cNvGrpSpPr/>
            <p:nvPr/>
          </p:nvGrpSpPr>
          <p:grpSpPr>
            <a:xfrm rot="10800000">
              <a:off x="7367860" y="3932677"/>
              <a:ext cx="1468217" cy="1302703"/>
              <a:chOff x="8412761" y="3952528"/>
              <a:chExt cx="1468217" cy="1302703"/>
            </a:xfrm>
          </p:grpSpPr>
          <p:cxnSp>
            <p:nvCxnSpPr>
              <p:cNvPr id="77" name="Straight Connector 76"/>
              <p:cNvCxnSpPr>
                <a:cxnSpLocks/>
              </p:cNvCxnSpPr>
              <p:nvPr/>
            </p:nvCxnSpPr>
            <p:spPr>
              <a:xfrm>
                <a:off x="8579644" y="3952529"/>
                <a:ext cx="0" cy="1297333"/>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cxnSpLocks/>
              </p:cNvCxnSpPr>
              <p:nvPr/>
            </p:nvCxnSpPr>
            <p:spPr>
              <a:xfrm>
                <a:off x="8412761" y="5255231"/>
                <a:ext cx="166883"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p:cNvCxnSpPr>
              <p:nvPr/>
            </p:nvCxnSpPr>
            <p:spPr>
              <a:xfrm>
                <a:off x="8412761" y="3952528"/>
                <a:ext cx="166883"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cxnSpLocks/>
              </p:cNvCxnSpPr>
              <p:nvPr/>
            </p:nvCxnSpPr>
            <p:spPr>
              <a:xfrm rot="10800000" flipH="1">
                <a:off x="8579643" y="4604023"/>
                <a:ext cx="1301335"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3" name="Rectangle 82"/>
            <p:cNvSpPr/>
            <p:nvPr/>
          </p:nvSpPr>
          <p:spPr>
            <a:xfrm>
              <a:off x="2400677" y="3854515"/>
              <a:ext cx="2476500" cy="240066"/>
            </a:xfrm>
            <a:prstGeom prst="rect">
              <a:avLst/>
            </a:prstGeom>
          </p:spPr>
          <p:txBody>
            <a:bodyPr wrap="square">
              <a:spAutoFit/>
            </a:bodyPr>
            <a:lstStyle/>
            <a:p>
              <a:pPr algn="ctr" defTabSz="932324" fontAlgn="base">
                <a:lnSpc>
                  <a:spcPct val="80000"/>
                </a:lnSpc>
                <a:spcBef>
                  <a:spcPct val="0"/>
                </a:spcBef>
                <a:spcAft>
                  <a:spcPct val="0"/>
                </a:spcAft>
              </a:pPr>
              <a:r>
                <a:rPr lang="en-US" sz="1200" kern="0"/>
                <a:t>Virtual Machine</a:t>
              </a:r>
            </a:p>
          </p:txBody>
        </p:sp>
        <p:sp>
          <p:nvSpPr>
            <p:cNvPr id="84" name="Rectangle 83"/>
            <p:cNvSpPr/>
            <p:nvPr/>
          </p:nvSpPr>
          <p:spPr>
            <a:xfrm>
              <a:off x="-1075848" y="5390796"/>
              <a:ext cx="2476500" cy="240066"/>
            </a:xfrm>
            <a:prstGeom prst="rect">
              <a:avLst/>
            </a:prstGeom>
          </p:spPr>
          <p:txBody>
            <a:bodyPr wrap="square">
              <a:spAutoFit/>
            </a:bodyPr>
            <a:lstStyle/>
            <a:p>
              <a:pPr algn="ctr" defTabSz="932324" fontAlgn="base">
                <a:lnSpc>
                  <a:spcPct val="80000"/>
                </a:lnSpc>
                <a:spcBef>
                  <a:spcPct val="0"/>
                </a:spcBef>
                <a:spcAft>
                  <a:spcPct val="0"/>
                </a:spcAft>
              </a:pPr>
              <a:r>
                <a:rPr lang="en-US" sz="1200" kern="0"/>
                <a:t>Storage Blob</a:t>
              </a:r>
            </a:p>
          </p:txBody>
        </p:sp>
        <p:pic>
          <p:nvPicPr>
            <p:cNvPr id="86" name="Graphic 85"/>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62777" y="3316287"/>
              <a:ext cx="628650" cy="485775"/>
            </a:xfrm>
            <a:prstGeom prst="rect">
              <a:avLst/>
            </a:prstGeom>
          </p:spPr>
        </p:pic>
        <p:cxnSp>
          <p:nvCxnSpPr>
            <p:cNvPr id="87" name="Straight Connector 86"/>
            <p:cNvCxnSpPr>
              <a:cxnSpLocks/>
            </p:cNvCxnSpPr>
            <p:nvPr/>
          </p:nvCxnSpPr>
          <p:spPr>
            <a:xfrm>
              <a:off x="6077102" y="4106862"/>
              <a:ext cx="0" cy="867164"/>
            </a:xfrm>
            <a:prstGeom prst="line">
              <a:avLst/>
            </a:prstGeom>
            <a:ln w="19050" cap="rnd">
              <a:solidFill>
                <a:srgbClr val="002050"/>
              </a:solidFill>
              <a:prstDash val="solid"/>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4838852" y="3854515"/>
              <a:ext cx="2476500" cy="240066"/>
            </a:xfrm>
            <a:prstGeom prst="rect">
              <a:avLst/>
            </a:prstGeom>
          </p:spPr>
          <p:txBody>
            <a:bodyPr wrap="square">
              <a:spAutoFit/>
            </a:bodyPr>
            <a:lstStyle/>
            <a:p>
              <a:pPr algn="ctr" defTabSz="932324" fontAlgn="base">
                <a:lnSpc>
                  <a:spcPct val="80000"/>
                </a:lnSpc>
                <a:spcBef>
                  <a:spcPct val="0"/>
                </a:spcBef>
                <a:spcAft>
                  <a:spcPct val="0"/>
                </a:spcAft>
              </a:pPr>
              <a:r>
                <a:rPr lang="en-US" sz="1200" kern="0"/>
                <a:t>Virtual Machine</a:t>
              </a:r>
            </a:p>
          </p:txBody>
        </p:sp>
        <p:sp>
          <p:nvSpPr>
            <p:cNvPr id="25" name="Rectangle 24"/>
            <p:cNvSpPr/>
            <p:nvPr/>
          </p:nvSpPr>
          <p:spPr bwMode="auto">
            <a:xfrm>
              <a:off x="2407444" y="4341726"/>
              <a:ext cx="4953000" cy="462654"/>
            </a:xfrm>
            <a:prstGeom prst="rect">
              <a:avLst/>
            </a:prstGeom>
            <a:solidFill>
              <a:schemeClr val="bg1"/>
            </a:solid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0078D7"/>
                  </a:solidFill>
                  <a:ea typeface="Segoe UI" pitchFamily="34" charset="0"/>
                  <a:cs typeface="Segoe UI" pitchFamily="34" charset="0"/>
                </a:rPr>
                <a:t>Azure Virtual Machine</a:t>
              </a:r>
            </a:p>
          </p:txBody>
        </p:sp>
        <p:cxnSp>
          <p:nvCxnSpPr>
            <p:cNvPr id="93" name="Straight Connector 92"/>
            <p:cNvCxnSpPr>
              <a:cxnSpLocks/>
            </p:cNvCxnSpPr>
            <p:nvPr/>
          </p:nvCxnSpPr>
          <p:spPr>
            <a:xfrm>
              <a:off x="4883944" y="5930208"/>
              <a:ext cx="0" cy="462654"/>
            </a:xfrm>
            <a:prstGeom prst="line">
              <a:avLst/>
            </a:prstGeom>
            <a:ln w="19050" cap="flat">
              <a:solidFill>
                <a:schemeClr val="bg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129361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p:cNvSpPr/>
          <p:nvPr/>
        </p:nvSpPr>
        <p:spPr bwMode="auto">
          <a:xfrm>
            <a:off x="6338577" y="4990199"/>
            <a:ext cx="3817298" cy="11801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38577" y="4369918"/>
            <a:ext cx="3817298" cy="52778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custDataLst>
              <p:tags r:id="rId2"/>
            </p:custDataLst>
          </p:nvPr>
        </p:nvSpPr>
        <p:spPr bwMode="auto">
          <a:xfrm>
            <a:off x="6121405" y="1290212"/>
            <a:ext cx="4034470" cy="210181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2434" tIns="26217" rIns="52434" bIns="26217" numCol="1" spcCol="0" rtlCol="0" anchor="ctr" anchorCtr="0" compatLnSpc="1">
            <a:prstTxWarp prst="textNoShape">
              <a:avLst/>
            </a:prstTxWarp>
          </a:bodyPr>
          <a:lstStyle/>
          <a:p>
            <a:pPr algn="ctr" defTabSz="524186" fontAlgn="base">
              <a:spcBef>
                <a:spcPct val="0"/>
              </a:spcBef>
              <a:spcAft>
                <a:spcPct val="0"/>
              </a:spcAft>
            </a:pPr>
            <a:endParaRPr lang="en-US" sz="1301">
              <a:gradFill>
                <a:gsLst>
                  <a:gs pos="0">
                    <a:srgbClr val="FFFFFF"/>
                  </a:gs>
                  <a:gs pos="100000">
                    <a:srgbClr val="FFFFFF"/>
                  </a:gs>
                </a:gsLst>
                <a:lin ang="5400000" scaled="0"/>
              </a:gradFill>
            </a:endParaRPr>
          </a:p>
        </p:txBody>
      </p:sp>
      <p:sp>
        <p:nvSpPr>
          <p:cNvPr id="31" name="Rectangle 30"/>
          <p:cNvSpPr/>
          <p:nvPr/>
        </p:nvSpPr>
        <p:spPr bwMode="auto">
          <a:xfrm>
            <a:off x="8227224" y="1423903"/>
            <a:ext cx="1687678" cy="1596507"/>
          </a:xfrm>
          <a:prstGeom prst="rect">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909" tIns="34955" rIns="69909" bIns="69936" numCol="1" spcCol="0" rtlCol="0" anchor="b" anchorCtr="0" compatLnSpc="1">
            <a:prstTxWarp prst="textNoShape">
              <a:avLst/>
            </a:prstTxWarp>
          </a:bodyPr>
          <a:lstStyle/>
          <a:p>
            <a:pPr algn="ctr" defTabSz="524186" fontAlgn="base">
              <a:spcBef>
                <a:spcPct val="0"/>
              </a:spcBef>
              <a:spcAft>
                <a:spcPct val="0"/>
              </a:spcAft>
            </a:pPr>
            <a:r>
              <a:rPr lang="en-US" sz="1350">
                <a:ln>
                  <a:solidFill>
                    <a:srgbClr val="FFFFFF">
                      <a:alpha val="0"/>
                    </a:srgbClr>
                  </a:solidFill>
                </a:ln>
                <a:solidFill>
                  <a:srgbClr val="0078D7"/>
                </a:solidFill>
              </a:rPr>
              <a:t>Virtual Machine</a:t>
            </a:r>
          </a:p>
        </p:txBody>
      </p:sp>
      <p:graphicFrame>
        <p:nvGraphicFramePr>
          <p:cNvPr id="10" name="Object 9" hidden="1"/>
          <p:cNvGraphicFramePr>
            <a:graphicFrameLocks noChangeAspect="1"/>
          </p:cNvGraphicFramePr>
          <p:nvPr>
            <p:custDataLst>
              <p:tags r:id="rId3"/>
            </p:custDataLst>
            <p:extLst/>
          </p:nvPr>
        </p:nvGraphicFramePr>
        <p:xfrm>
          <a:off x="2720481" y="1530226"/>
          <a:ext cx="91091" cy="91067"/>
        </p:xfrm>
        <a:graphic>
          <a:graphicData uri="http://schemas.openxmlformats.org/presentationml/2006/ole">
            <mc:AlternateContent xmlns:mc="http://schemas.openxmlformats.org/markup-compatibility/2006">
              <mc:Choice xmlns:v="urn:schemas-microsoft-com:vml" Requires="v">
                <p:oleObj spid="_x0000_s1027" name="think-cell Slide" r:id="rId8" imgW="270" imgH="270" progId="TCLayout.ActiveDocument.1">
                  <p:embed/>
                </p:oleObj>
              </mc:Choice>
              <mc:Fallback>
                <p:oleObj name="think-cell Slide" r:id="rId8" imgW="270" imgH="270" progId="TCLayout.ActiveDocument.1">
                  <p:embed/>
                  <p:pic>
                    <p:nvPicPr>
                      <p:cNvPr id="10" name="Object 9" hidden="1"/>
                      <p:cNvPicPr/>
                      <p:nvPr/>
                    </p:nvPicPr>
                    <p:blipFill>
                      <a:blip r:embed="rId9"/>
                      <a:stretch>
                        <a:fillRect/>
                      </a:stretch>
                    </p:blipFill>
                    <p:spPr>
                      <a:xfrm>
                        <a:off x="2720481" y="1530226"/>
                        <a:ext cx="91091" cy="91067"/>
                      </a:xfrm>
                      <a:prstGeom prst="rect">
                        <a:avLst/>
                      </a:prstGeom>
                    </p:spPr>
                  </p:pic>
                </p:oleObj>
              </mc:Fallback>
            </mc:AlternateContent>
          </a:graphicData>
        </a:graphic>
      </p:graphicFrame>
      <p:sp>
        <p:nvSpPr>
          <p:cNvPr id="4" name="Title 3"/>
          <p:cNvSpPr>
            <a:spLocks noGrp="1"/>
          </p:cNvSpPr>
          <p:nvPr>
            <p:ph type="title"/>
            <p:custDataLst>
              <p:tags r:id="rId4"/>
            </p:custDataLst>
          </p:nvPr>
        </p:nvSpPr>
        <p:spPr>
          <a:xfrm>
            <a:off x="366169" y="295278"/>
            <a:ext cx="11702551" cy="917575"/>
          </a:xfrm>
        </p:spPr>
        <p:txBody>
          <a:bodyPr/>
          <a:lstStyle/>
          <a:p>
            <a:pPr defTabSz="932594"/>
            <a:r>
              <a:rPr lang="en-US" sz="4800" spc="-101"/>
              <a:t>Availability sets</a:t>
            </a:r>
          </a:p>
        </p:txBody>
      </p:sp>
      <p:sp>
        <p:nvSpPr>
          <p:cNvPr id="16" name="Rectangle 15"/>
          <p:cNvSpPr/>
          <p:nvPr>
            <p:custDataLst>
              <p:tags r:id="rId5"/>
            </p:custDataLst>
          </p:nvPr>
        </p:nvSpPr>
        <p:spPr bwMode="auto">
          <a:xfrm>
            <a:off x="6053079" y="3767069"/>
            <a:ext cx="4171595" cy="3544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2434" tIns="26217" rIns="52434" bIns="26217" numCol="1" spcCol="0" rtlCol="0" anchor="ctr" anchorCtr="0" compatLnSpc="1">
            <a:prstTxWarp prst="textNoShape">
              <a:avLst/>
            </a:prstTxWarp>
          </a:bodyPr>
          <a:lstStyle/>
          <a:p>
            <a:pPr algn="ctr" defTabSz="524186" fontAlgn="base">
              <a:spcBef>
                <a:spcPct val="0"/>
              </a:spcBef>
              <a:spcAft>
                <a:spcPct val="0"/>
              </a:spcAft>
            </a:pPr>
            <a:r>
              <a:rPr lang="en-US" sz="2400">
                <a:solidFill>
                  <a:srgbClr val="404040"/>
                </a:solidFill>
              </a:rPr>
              <a:t>High availability</a:t>
            </a:r>
          </a:p>
        </p:txBody>
      </p:sp>
      <p:pic>
        <p:nvPicPr>
          <p:cNvPr id="29" name="Picture 28"/>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280248" y="1743367"/>
            <a:ext cx="2515220" cy="3642486"/>
          </a:xfrm>
          <a:prstGeom prst="rect">
            <a:avLst/>
          </a:prstGeom>
          <a:noFill/>
          <a:ln w="9525">
            <a:noFill/>
            <a:miter lim="800000"/>
            <a:headEnd/>
            <a:tailEnd/>
          </a:ln>
          <a:effectLst/>
        </p:spPr>
      </p:pic>
      <p:sp>
        <p:nvSpPr>
          <p:cNvPr id="30" name="Rounded Rectangle 29"/>
          <p:cNvSpPr/>
          <p:nvPr/>
        </p:nvSpPr>
        <p:spPr bwMode="auto">
          <a:xfrm>
            <a:off x="6360515" y="4383465"/>
            <a:ext cx="3795360" cy="514233"/>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ctr" anchorCtr="0" forceAA="0" compatLnSpc="1">
            <a:prstTxWarp prst="textNoShape">
              <a:avLst/>
            </a:prstTxWarp>
            <a:noAutofit/>
          </a:bodyPr>
          <a:lstStyle/>
          <a:p>
            <a:pPr algn="ctr" defTabSz="699204" fontAlgn="base">
              <a:lnSpc>
                <a:spcPct val="90000"/>
              </a:lnSpc>
              <a:spcBef>
                <a:spcPct val="0"/>
              </a:spcBef>
              <a:spcAft>
                <a:spcPct val="0"/>
              </a:spcAft>
            </a:pPr>
            <a:r>
              <a:rPr lang="en-US" sz="2100">
                <a:gradFill>
                  <a:gsLst>
                    <a:gs pos="0">
                      <a:srgbClr val="FFFFFF"/>
                    </a:gs>
                    <a:gs pos="100000">
                      <a:srgbClr val="FFFFFF"/>
                    </a:gs>
                  </a:gsLst>
                  <a:lin ang="5400000" scaled="0"/>
                </a:gradFill>
                <a:ea typeface="Segoe UI" pitchFamily="34" charset="0"/>
                <a:cs typeface="Segoe UI" pitchFamily="34" charset="0"/>
              </a:rPr>
              <a:t>Physical machines</a:t>
            </a:r>
          </a:p>
        </p:txBody>
      </p:sp>
      <p:cxnSp>
        <p:nvCxnSpPr>
          <p:cNvPr id="32" name="Straight Arrow Connector 31"/>
          <p:cNvCxnSpPr>
            <a:cxnSpLocks/>
            <a:endCxn id="30" idx="1"/>
          </p:cNvCxnSpPr>
          <p:nvPr/>
        </p:nvCxnSpPr>
        <p:spPr>
          <a:xfrm>
            <a:off x="4730750" y="2520950"/>
            <a:ext cx="1629765" cy="2119632"/>
          </a:xfrm>
          <a:prstGeom prst="straightConnector1">
            <a:avLst/>
          </a:prstGeom>
          <a:ln w="19050">
            <a:solidFill>
              <a:srgbClr val="5C2D91"/>
            </a:solidFill>
            <a:headEnd type="none"/>
            <a:tailEnd type="none"/>
          </a:ln>
        </p:spPr>
        <p:style>
          <a:lnRef idx="3">
            <a:schemeClr val="dk1"/>
          </a:lnRef>
          <a:fillRef idx="0">
            <a:schemeClr val="dk1"/>
          </a:fillRef>
          <a:effectRef idx="2">
            <a:schemeClr val="dk1"/>
          </a:effectRef>
          <a:fontRef idx="minor">
            <a:schemeClr val="tx1"/>
          </a:fontRef>
        </p:style>
      </p:cxnSp>
      <p:cxnSp>
        <p:nvCxnSpPr>
          <p:cNvPr id="33" name="Straight Arrow Connector 32"/>
          <p:cNvCxnSpPr>
            <a:cxnSpLocks/>
            <a:stCxn id="121" idx="5"/>
            <a:endCxn id="30" idx="1"/>
          </p:cNvCxnSpPr>
          <p:nvPr/>
        </p:nvCxnSpPr>
        <p:spPr>
          <a:xfrm>
            <a:off x="4743672" y="3042618"/>
            <a:ext cx="1616843" cy="1597964"/>
          </a:xfrm>
          <a:prstGeom prst="straightConnector1">
            <a:avLst/>
          </a:prstGeom>
          <a:ln w="19050">
            <a:solidFill>
              <a:srgbClr val="5C2D91"/>
            </a:solidFill>
            <a:headEnd type="none"/>
            <a:tailEnd type="none"/>
          </a:ln>
        </p:spPr>
        <p:style>
          <a:lnRef idx="3">
            <a:schemeClr val="dk1"/>
          </a:lnRef>
          <a:fillRef idx="0">
            <a:schemeClr val="dk1"/>
          </a:fillRef>
          <a:effectRef idx="2">
            <a:schemeClr val="dk1"/>
          </a:effectRef>
          <a:fontRef idx="minor">
            <a:schemeClr val="tx1"/>
          </a:fontRef>
        </p:style>
      </p:cxnSp>
      <p:cxnSp>
        <p:nvCxnSpPr>
          <p:cNvPr id="34" name="Straight Arrow Connector 33"/>
          <p:cNvCxnSpPr>
            <a:endCxn id="30" idx="1"/>
          </p:cNvCxnSpPr>
          <p:nvPr/>
        </p:nvCxnSpPr>
        <p:spPr>
          <a:xfrm flipV="1">
            <a:off x="4274921" y="4640582"/>
            <a:ext cx="2085594" cy="491881"/>
          </a:xfrm>
          <a:prstGeom prst="straightConnector1">
            <a:avLst/>
          </a:prstGeom>
          <a:ln w="19050">
            <a:solidFill>
              <a:srgbClr val="5C2D91"/>
            </a:solidFill>
            <a:headEnd type="none"/>
            <a:tailEnd type="none"/>
          </a:ln>
        </p:spPr>
        <p:style>
          <a:lnRef idx="3">
            <a:schemeClr val="dk1"/>
          </a:lnRef>
          <a:fillRef idx="0">
            <a:schemeClr val="dk1"/>
          </a:fillRef>
          <a:effectRef idx="2">
            <a:schemeClr val="dk1"/>
          </a:effectRef>
          <a:fontRef idx="minor">
            <a:schemeClr val="tx1"/>
          </a:fontRef>
        </p:style>
      </p:cxnSp>
      <p:cxnSp>
        <p:nvCxnSpPr>
          <p:cNvPr id="35" name="Straight Arrow Connector 34"/>
          <p:cNvCxnSpPr>
            <a:cxnSpLocks/>
            <a:endCxn id="30" idx="1"/>
          </p:cNvCxnSpPr>
          <p:nvPr/>
        </p:nvCxnSpPr>
        <p:spPr>
          <a:xfrm>
            <a:off x="4768850" y="3559175"/>
            <a:ext cx="1591665" cy="1081407"/>
          </a:xfrm>
          <a:prstGeom prst="straightConnector1">
            <a:avLst/>
          </a:prstGeom>
          <a:ln w="19050">
            <a:solidFill>
              <a:srgbClr val="5C2D91"/>
            </a:solidFill>
            <a:headEnd type="none"/>
            <a:tailEnd type="none"/>
          </a:ln>
        </p:spPr>
        <p:style>
          <a:lnRef idx="3">
            <a:schemeClr val="dk1"/>
          </a:lnRef>
          <a:fillRef idx="0">
            <a:schemeClr val="dk1"/>
          </a:fillRef>
          <a:effectRef idx="2">
            <a:schemeClr val="dk1"/>
          </a:effectRef>
          <a:fontRef idx="minor">
            <a:schemeClr val="tx1"/>
          </a:fontRef>
        </p:style>
      </p:cxnSp>
      <p:sp>
        <p:nvSpPr>
          <p:cNvPr id="36" name="Rounded Rectangle 35"/>
          <p:cNvSpPr/>
          <p:nvPr/>
        </p:nvSpPr>
        <p:spPr bwMode="auto">
          <a:xfrm>
            <a:off x="6360515" y="5112996"/>
            <a:ext cx="3795360" cy="89717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ctr" anchorCtr="0" forceAA="0" compatLnSpc="1">
            <a:prstTxWarp prst="textNoShape">
              <a:avLst/>
            </a:prstTxWarp>
            <a:noAutofit/>
          </a:bodyPr>
          <a:lstStyle/>
          <a:p>
            <a:pPr algn="ctr" defTabSz="699204" fontAlgn="base">
              <a:lnSpc>
                <a:spcPct val="90000"/>
              </a:lnSpc>
              <a:spcBef>
                <a:spcPct val="0"/>
              </a:spcBef>
              <a:spcAft>
                <a:spcPct val="0"/>
              </a:spcAft>
            </a:pPr>
            <a:r>
              <a:rPr lang="en-US" sz="2100">
                <a:gradFill>
                  <a:gsLst>
                    <a:gs pos="0">
                      <a:srgbClr val="FFFFFF"/>
                    </a:gs>
                    <a:gs pos="100000">
                      <a:srgbClr val="FFFFFF"/>
                    </a:gs>
                  </a:gsLst>
                  <a:lin ang="5400000" scaled="0"/>
                </a:gradFill>
                <a:ea typeface="Segoe UI" pitchFamily="34" charset="0"/>
                <a:cs typeface="Segoe UI" pitchFamily="34" charset="0"/>
              </a:rPr>
              <a:t>Power unit</a:t>
            </a:r>
          </a:p>
          <a:p>
            <a:pPr algn="ctr" defTabSz="699204" fontAlgn="base">
              <a:lnSpc>
                <a:spcPct val="90000"/>
              </a:lnSpc>
              <a:spcBef>
                <a:spcPct val="0"/>
              </a:spcBef>
              <a:spcAft>
                <a:spcPct val="0"/>
              </a:spcAft>
            </a:pPr>
            <a:r>
              <a:rPr lang="en-US" sz="2100">
                <a:gradFill>
                  <a:gsLst>
                    <a:gs pos="0">
                      <a:srgbClr val="FFFFFF"/>
                    </a:gs>
                    <a:gs pos="100000">
                      <a:srgbClr val="FFFFFF"/>
                    </a:gs>
                  </a:gsLst>
                  <a:lin ang="5400000" scaled="0"/>
                </a:gradFill>
                <a:ea typeface="Segoe UI" pitchFamily="34" charset="0"/>
                <a:cs typeface="Segoe UI" pitchFamily="34" charset="0"/>
              </a:rPr>
              <a:t>rack switch</a:t>
            </a:r>
          </a:p>
        </p:txBody>
      </p:sp>
      <p:cxnSp>
        <p:nvCxnSpPr>
          <p:cNvPr id="37" name="Straight Arrow Connector 36"/>
          <p:cNvCxnSpPr>
            <a:cxnSpLocks/>
            <a:stCxn id="9" idx="5"/>
          </p:cNvCxnSpPr>
          <p:nvPr/>
        </p:nvCxnSpPr>
        <p:spPr>
          <a:xfrm>
            <a:off x="4394106" y="4185982"/>
            <a:ext cx="1966409" cy="1419513"/>
          </a:xfrm>
          <a:prstGeom prst="straightConnector1">
            <a:avLst/>
          </a:prstGeom>
          <a:ln w="19050">
            <a:solidFill>
              <a:schemeClr val="accent1"/>
            </a:solidFill>
            <a:headEnd type="none"/>
            <a:tailEnd type="none"/>
          </a:ln>
        </p:spPr>
        <p:style>
          <a:lnRef idx="3">
            <a:schemeClr val="dk1"/>
          </a:lnRef>
          <a:fillRef idx="0">
            <a:schemeClr val="dk1"/>
          </a:fillRef>
          <a:effectRef idx="2">
            <a:schemeClr val="dk1"/>
          </a:effectRef>
          <a:fontRef idx="minor">
            <a:schemeClr val="tx1"/>
          </a:fontRef>
        </p:style>
      </p:cxnSp>
      <p:sp>
        <p:nvSpPr>
          <p:cNvPr id="92" name="Rectangle 91"/>
          <p:cNvSpPr/>
          <p:nvPr/>
        </p:nvSpPr>
        <p:spPr>
          <a:xfrm>
            <a:off x="-12441896" y="4249885"/>
            <a:ext cx="2476500" cy="240066"/>
          </a:xfrm>
          <a:prstGeom prst="rect">
            <a:avLst/>
          </a:prstGeom>
        </p:spPr>
        <p:txBody>
          <a:bodyPr wrap="square">
            <a:spAutoFit/>
          </a:bodyPr>
          <a:lstStyle/>
          <a:p>
            <a:pPr algn="ctr" defTabSz="932324" fontAlgn="base">
              <a:lnSpc>
                <a:spcPct val="80000"/>
              </a:lnSpc>
              <a:spcBef>
                <a:spcPct val="0"/>
              </a:spcBef>
              <a:spcAft>
                <a:spcPct val="0"/>
              </a:spcAft>
            </a:pPr>
            <a:r>
              <a:rPr lang="en-US" sz="1200" kern="0"/>
              <a:t>Storage blob</a:t>
            </a:r>
          </a:p>
        </p:txBody>
      </p:sp>
      <p:grpSp>
        <p:nvGrpSpPr>
          <p:cNvPr id="2" name="Group 1"/>
          <p:cNvGrpSpPr/>
          <p:nvPr/>
        </p:nvGrpSpPr>
        <p:grpSpPr>
          <a:xfrm rot="5400000">
            <a:off x="7970023" y="1653115"/>
            <a:ext cx="333765" cy="3596657"/>
            <a:chOff x="10905454" y="2796066"/>
            <a:chExt cx="333765" cy="3596657"/>
          </a:xfrm>
        </p:grpSpPr>
        <p:cxnSp>
          <p:nvCxnSpPr>
            <p:cNvPr id="106" name="Straight Connector 105"/>
            <p:cNvCxnSpPr>
              <a:cxnSpLocks/>
            </p:cNvCxnSpPr>
            <p:nvPr/>
          </p:nvCxnSpPr>
          <p:spPr>
            <a:xfrm rot="16200000" flipH="1">
              <a:off x="9274010" y="4594394"/>
              <a:ext cx="3596656"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a:cxnSpLocks/>
            </p:cNvCxnSpPr>
            <p:nvPr/>
          </p:nvCxnSpPr>
          <p:spPr>
            <a:xfrm>
              <a:off x="10905455" y="6392723"/>
              <a:ext cx="166883"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cxnSpLocks/>
            </p:cNvCxnSpPr>
            <p:nvPr/>
          </p:nvCxnSpPr>
          <p:spPr>
            <a:xfrm>
              <a:off x="10905454" y="2796066"/>
              <a:ext cx="166883"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cxnSpLocks/>
            </p:cNvCxnSpPr>
            <p:nvPr/>
          </p:nvCxnSpPr>
          <p:spPr>
            <a:xfrm>
              <a:off x="11072336" y="4603950"/>
              <a:ext cx="166883" cy="0"/>
            </a:xfrm>
            <a:prstGeom prst="line">
              <a:avLst/>
            </a:prstGeom>
            <a:ln w="19050" cap="rnd">
              <a:solidFill>
                <a:srgbClr val="002050"/>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7" name="Graphic 6"/>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955240" y="1677113"/>
            <a:ext cx="428625" cy="495300"/>
          </a:xfrm>
          <a:prstGeom prst="rect">
            <a:avLst/>
          </a:prstGeom>
        </p:spPr>
      </p:pic>
      <p:sp>
        <p:nvSpPr>
          <p:cNvPr id="111" name="Rectangle 110"/>
          <p:cNvSpPr/>
          <p:nvPr/>
        </p:nvSpPr>
        <p:spPr>
          <a:xfrm>
            <a:off x="6330978" y="2308592"/>
            <a:ext cx="1677149" cy="240066"/>
          </a:xfrm>
          <a:prstGeom prst="rect">
            <a:avLst/>
          </a:prstGeom>
        </p:spPr>
        <p:txBody>
          <a:bodyPr wrap="square">
            <a:spAutoFit/>
          </a:bodyPr>
          <a:lstStyle/>
          <a:p>
            <a:pPr algn="ctr" defTabSz="932324" fontAlgn="base">
              <a:lnSpc>
                <a:spcPct val="80000"/>
              </a:lnSpc>
              <a:spcBef>
                <a:spcPct val="0"/>
              </a:spcBef>
              <a:spcAft>
                <a:spcPct val="0"/>
              </a:spcAft>
            </a:pPr>
            <a:r>
              <a:rPr lang="en-US" sz="1200" kern="0"/>
              <a:t>SQL Server primary</a:t>
            </a:r>
          </a:p>
        </p:txBody>
      </p:sp>
      <p:pic>
        <p:nvPicPr>
          <p:cNvPr id="112" name="Graphic 111"/>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856751" y="1677113"/>
            <a:ext cx="428625" cy="495300"/>
          </a:xfrm>
          <a:prstGeom prst="rect">
            <a:avLst/>
          </a:prstGeom>
        </p:spPr>
      </p:pic>
      <p:sp>
        <p:nvSpPr>
          <p:cNvPr id="113" name="Rectangle 112"/>
          <p:cNvSpPr/>
          <p:nvPr/>
        </p:nvSpPr>
        <p:spPr>
          <a:xfrm>
            <a:off x="8232489" y="2308592"/>
            <a:ext cx="1677149" cy="240066"/>
          </a:xfrm>
          <a:prstGeom prst="rect">
            <a:avLst/>
          </a:prstGeom>
        </p:spPr>
        <p:txBody>
          <a:bodyPr wrap="square">
            <a:spAutoFit/>
          </a:bodyPr>
          <a:lstStyle/>
          <a:p>
            <a:pPr algn="ctr" defTabSz="932324" fontAlgn="base">
              <a:lnSpc>
                <a:spcPct val="80000"/>
              </a:lnSpc>
              <a:spcBef>
                <a:spcPct val="0"/>
              </a:spcBef>
              <a:spcAft>
                <a:spcPct val="0"/>
              </a:spcAft>
            </a:pPr>
            <a:r>
              <a:rPr lang="en-US" sz="1200" kern="0"/>
              <a:t>SQL Server secondary</a:t>
            </a:r>
          </a:p>
        </p:txBody>
      </p:sp>
      <p:sp>
        <p:nvSpPr>
          <p:cNvPr id="114" name="Rectangle 113"/>
          <p:cNvSpPr/>
          <p:nvPr/>
        </p:nvSpPr>
        <p:spPr bwMode="auto">
          <a:xfrm>
            <a:off x="6330476" y="1423903"/>
            <a:ext cx="1687678" cy="1596507"/>
          </a:xfrm>
          <a:prstGeom prst="rect">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909" tIns="34955" rIns="69909" bIns="69936" numCol="1" spcCol="0" rtlCol="0" anchor="b" anchorCtr="0" compatLnSpc="1">
            <a:prstTxWarp prst="textNoShape">
              <a:avLst/>
            </a:prstTxWarp>
          </a:bodyPr>
          <a:lstStyle/>
          <a:p>
            <a:pPr algn="ctr" defTabSz="524186" fontAlgn="base">
              <a:spcBef>
                <a:spcPct val="0"/>
              </a:spcBef>
              <a:spcAft>
                <a:spcPct val="0"/>
              </a:spcAft>
            </a:pPr>
            <a:r>
              <a:rPr lang="en-US" sz="1350">
                <a:ln>
                  <a:solidFill>
                    <a:srgbClr val="FFFFFF">
                      <a:alpha val="0"/>
                    </a:srgbClr>
                  </a:solidFill>
                </a:ln>
                <a:solidFill>
                  <a:srgbClr val="0078D7"/>
                </a:solidFill>
              </a:rPr>
              <a:t>Virtual Machine</a:t>
            </a:r>
          </a:p>
        </p:txBody>
      </p:sp>
      <p:sp>
        <p:nvSpPr>
          <p:cNvPr id="9" name="Oval 8"/>
          <p:cNvSpPr/>
          <p:nvPr/>
        </p:nvSpPr>
        <p:spPr bwMode="auto">
          <a:xfrm>
            <a:off x="4144101" y="3935977"/>
            <a:ext cx="292899" cy="292899"/>
          </a:xfrm>
          <a:prstGeom prst="ellipse">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9" name="Oval 118"/>
          <p:cNvSpPr/>
          <p:nvPr/>
        </p:nvSpPr>
        <p:spPr bwMode="auto">
          <a:xfrm>
            <a:off x="3997651" y="5021072"/>
            <a:ext cx="292899" cy="292899"/>
          </a:xfrm>
          <a:prstGeom prst="ellipse">
            <a:avLst/>
          </a:prstGeom>
          <a:noFill/>
          <a:ln w="19050">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493667" y="2244883"/>
            <a:ext cx="292899" cy="292899"/>
          </a:xfrm>
          <a:prstGeom prst="ellipse">
            <a:avLst/>
          </a:prstGeom>
          <a:noFill/>
          <a:ln w="19050">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1" name="Oval 120"/>
          <p:cNvSpPr/>
          <p:nvPr/>
        </p:nvSpPr>
        <p:spPr bwMode="auto">
          <a:xfrm>
            <a:off x="4493667" y="2792613"/>
            <a:ext cx="292899" cy="292899"/>
          </a:xfrm>
          <a:prstGeom prst="ellipse">
            <a:avLst/>
          </a:prstGeom>
          <a:noFill/>
          <a:ln w="19050">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2" name="Oval 121"/>
          <p:cNvSpPr/>
          <p:nvPr/>
        </p:nvSpPr>
        <p:spPr bwMode="auto">
          <a:xfrm>
            <a:off x="4493667" y="3340343"/>
            <a:ext cx="292899" cy="292899"/>
          </a:xfrm>
          <a:prstGeom prst="ellipse">
            <a:avLst/>
          </a:prstGeom>
          <a:noFill/>
          <a:ln w="19050">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9709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wipe(left)">
                                      <p:cBhvr>
                                        <p:cTn id="15" dur="500"/>
                                        <p:tgtEl>
                                          <p:spTgt spid="33"/>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wipe(left)">
                                      <p:cBhvr>
                                        <p:cTn id="19" dur="500"/>
                                        <p:tgtEl>
                                          <p:spTgt spid="35"/>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wipe(left)">
                                      <p:cBhvr>
                                        <p:cTn id="23" dur="500"/>
                                        <p:tgtEl>
                                          <p:spTgt spid="3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8" fill="hold" nodeType="clickEffect">
                                  <p:stCondLst>
                                    <p:cond delay="0"/>
                                  </p:stCondLst>
                                  <p:childTnLst>
                                    <p:animEffect transition="out" filter="wipe(left)">
                                      <p:cBhvr>
                                        <p:cTn id="27" dur="500"/>
                                        <p:tgtEl>
                                          <p:spTgt spid="32"/>
                                        </p:tgtEl>
                                      </p:cBhvr>
                                    </p:animEffect>
                                    <p:set>
                                      <p:cBhvr>
                                        <p:cTn id="28" dur="1" fill="hold">
                                          <p:stCondLst>
                                            <p:cond delay="499"/>
                                          </p:stCondLst>
                                        </p:cTn>
                                        <p:tgtEl>
                                          <p:spTgt spid="32"/>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33"/>
                                        </p:tgtEl>
                                      </p:cBhvr>
                                    </p:animEffect>
                                    <p:set>
                                      <p:cBhvr>
                                        <p:cTn id="31" dur="1" fill="hold">
                                          <p:stCondLst>
                                            <p:cond delay="499"/>
                                          </p:stCondLst>
                                        </p:cTn>
                                        <p:tgtEl>
                                          <p:spTgt spid="33"/>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35"/>
                                        </p:tgtEl>
                                      </p:cBhvr>
                                    </p:animEffect>
                                    <p:set>
                                      <p:cBhvr>
                                        <p:cTn id="34" dur="1" fill="hold">
                                          <p:stCondLst>
                                            <p:cond delay="499"/>
                                          </p:stCondLst>
                                        </p:cTn>
                                        <p:tgtEl>
                                          <p:spTgt spid="35"/>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34"/>
                                        </p:tgtEl>
                                      </p:cBhvr>
                                    </p:animEffect>
                                    <p:set>
                                      <p:cBhvr>
                                        <p:cTn id="37" dur="1" fill="hold">
                                          <p:stCondLst>
                                            <p:cond delay="499"/>
                                          </p:stCondLst>
                                        </p:cTn>
                                        <p:tgtEl>
                                          <p:spTgt spid="34"/>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fade">
                                      <p:cBhvr>
                                        <p:cTn id="41" dur="500"/>
                                        <p:tgtEl>
                                          <p:spTgt spid="36"/>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wipe(left)">
                                      <p:cBhvr>
                                        <p:cTn id="45" dur="500"/>
                                        <p:tgtEl>
                                          <p:spTgt spid="37"/>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8" fill="hold" nodeType="clickEffect">
                                  <p:stCondLst>
                                    <p:cond delay="0"/>
                                  </p:stCondLst>
                                  <p:childTnLst>
                                    <p:animEffect transition="out" filter="wipe(left)">
                                      <p:cBhvr>
                                        <p:cTn id="49" dur="500"/>
                                        <p:tgtEl>
                                          <p:spTgt spid="37"/>
                                        </p:tgtEl>
                                      </p:cBhvr>
                                    </p:animEffect>
                                    <p:set>
                                      <p:cBhvr>
                                        <p:cTn id="50" dur="1" fill="hold">
                                          <p:stCondLst>
                                            <p:cond delay="499"/>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heme/theme1.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A40798A-1D5D-4D7F-B176-48D1E8924216}"/>
    </a:ext>
  </a:extLst>
</a:theme>
</file>

<file path=ppt/theme/theme3.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4.xml><?xml version="1.0" encoding="utf-8"?>
<a:theme xmlns:a="http://schemas.openxmlformats.org/drawingml/2006/main" name="WHITE TEMPLATE_CUSTOM">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Consumer_BLUE_2017_05.potx" id="{3111A0BE-7997-4F80-99D7-8D4AB70B2328}" vid="{9924EA75-73A0-4149-B583-CD0D59B7A7E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53B0A39536C34A88A418826D8AA97B" ma:contentTypeVersion="0" ma:contentTypeDescription="Create a new document." ma:contentTypeScope="" ma:versionID="50ad4e5c0e1d538855268c933a8cd428">
  <xsd:schema xmlns:xsd="http://www.w3.org/2001/XMLSchema" xmlns:xs="http://www.w3.org/2001/XMLSchema" xmlns:p="http://schemas.microsoft.com/office/2006/metadata/properties" targetNamespace="http://schemas.microsoft.com/office/2006/metadata/properties" ma:root="true" ma:fieldsID="ef6e81ba9a205494fd550eed2762925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66DA8BC-D038-470D-9123-EACCFDD75B5A}"/>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60e067c4-a45d-4533-a15b-b3844c50456e"/>
    <ds:schemaRef ds:uri="http://purl.org/dc/dcmitype/"/>
    <ds:schemaRef ds:uri="http://schemas.microsoft.com/office/infopath/2007/PartnerControls"/>
    <ds:schemaRef ds:uri="http://purl.org/dc/elements/1.1/"/>
    <ds:schemaRef ds:uri="http://schemas.microsoft.com/office/2006/metadata/properties"/>
    <ds:schemaRef ds:uri="26e2a2f4-dbdb-4aea-b912-c14630ae47fd"/>
    <ds:schemaRef ds:uri="http://schemas.microsoft.com/office/2006/documentManagement/types"/>
    <ds:schemaRef ds:uri="http://schemas.microsoft.com/sharepoint/v3"/>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842</TotalTime>
  <Words>6870</Words>
  <Application>Microsoft Office PowerPoint</Application>
  <PresentationFormat>Custom</PresentationFormat>
  <Paragraphs>1049</Paragraphs>
  <Slides>70</Slides>
  <Notes>70</Notes>
  <HiddenSlides>11</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70</vt:i4>
      </vt:variant>
    </vt:vector>
  </HeadingPairs>
  <TitlesOfParts>
    <vt:vector size="87" baseType="lpstr">
      <vt:lpstr>Arial</vt:lpstr>
      <vt:lpstr>Calibri</vt:lpstr>
      <vt:lpstr>Consolas</vt:lpstr>
      <vt:lpstr>Segoe Pro Display Light</vt:lpstr>
      <vt:lpstr>Segoe Pro Display Semibold</vt:lpstr>
      <vt:lpstr>Segoe UI</vt:lpstr>
      <vt:lpstr>Segoe UI Condensed</vt:lpstr>
      <vt:lpstr>Segoe UI Light</vt:lpstr>
      <vt:lpstr>Segoe UI Light (Headings)</vt:lpstr>
      <vt:lpstr>Segoe UI Semibold</vt:lpstr>
      <vt:lpstr>Segoe UI Semilight</vt:lpstr>
      <vt:lpstr>Wingdings</vt:lpstr>
      <vt:lpstr>WHITE TEMPLATE</vt:lpstr>
      <vt:lpstr>COLOR TEMPLATE</vt:lpstr>
      <vt:lpstr>2_WHITE TEMPLATE</vt:lpstr>
      <vt:lpstr>WHITE TEMPLATE_CUSTOM</vt:lpstr>
      <vt:lpstr>think-cell Slide</vt:lpstr>
      <vt:lpstr>Azure Solution  Alignment Workshop</vt:lpstr>
      <vt:lpstr>IaaS Compute Menu | Click a box</vt:lpstr>
      <vt:lpstr>PowerPoint Presentation</vt:lpstr>
      <vt:lpstr>Microsoft Azure compute (IaaS)</vt:lpstr>
      <vt:lpstr>IaaS Considerations</vt:lpstr>
      <vt:lpstr>Inside or Outside the Box</vt:lpstr>
      <vt:lpstr>PowerPoint Presentation</vt:lpstr>
      <vt:lpstr>Virtual Machines</vt:lpstr>
      <vt:lpstr>Availability sets</vt:lpstr>
      <vt:lpstr>PowerPoint Presentation</vt:lpstr>
      <vt:lpstr>Availability Zones</vt:lpstr>
      <vt:lpstr>The Spectrum of Protection Spanning the hardware to DataCenter to Regions</vt:lpstr>
      <vt:lpstr>Virtual Machine Disks</vt:lpstr>
      <vt:lpstr>PowerPoint Presentation</vt:lpstr>
      <vt:lpstr>VM extensions</vt:lpstr>
      <vt:lpstr>PowerPoint Presentation</vt:lpstr>
      <vt:lpstr>Virtual Machine Scale Sets</vt:lpstr>
      <vt:lpstr>Why VM Scale Sets?</vt:lpstr>
      <vt:lpstr>Autoscale</vt:lpstr>
      <vt:lpstr>Alerts &amp; Autoscale notifications with PagerDuty</vt:lpstr>
      <vt:lpstr>PowerPoint Presentation</vt:lpstr>
      <vt:lpstr>Cost considerations</vt:lpstr>
      <vt:lpstr>Cost</vt:lpstr>
      <vt:lpstr>PowerPoint Presentation</vt:lpstr>
      <vt:lpstr>PowerPoint Presentation</vt:lpstr>
      <vt:lpstr>Azure Reserved Virtual Machine Instances | Benefits</vt:lpstr>
      <vt:lpstr>PowerPoint Presentation</vt:lpstr>
      <vt:lpstr>PowerPoint Presentation</vt:lpstr>
      <vt:lpstr>Resource groups (resource management (ARM))</vt:lpstr>
      <vt:lpstr>Single vs. multiple resource groups</vt:lpstr>
      <vt:lpstr>Resource tags</vt:lpstr>
      <vt:lpstr>Resource locks</vt:lpstr>
      <vt:lpstr>PowerPoint Presentation</vt:lpstr>
      <vt:lpstr>RBAC – Two key concepts</vt:lpstr>
      <vt:lpstr>RBAC – Built-in versus custom definitions</vt:lpstr>
      <vt:lpstr>RBAC role definitions</vt:lpstr>
      <vt:lpstr>Compute IaaS Deployment </vt:lpstr>
      <vt:lpstr>Who’s owns what parts - examples</vt:lpstr>
      <vt:lpstr>Deployment Methods</vt:lpstr>
      <vt:lpstr>Virtual Machine Marketplace images</vt:lpstr>
      <vt:lpstr>PowerPoint Presentation</vt:lpstr>
      <vt:lpstr>Azure Managed Applications</vt:lpstr>
      <vt:lpstr>Deployment options</vt:lpstr>
      <vt:lpstr>Deployment options – ARM templates</vt:lpstr>
      <vt:lpstr>Power of repeatability</vt:lpstr>
      <vt:lpstr>Azure Resource Manager</vt:lpstr>
      <vt:lpstr>Resource loops</vt:lpstr>
      <vt:lpstr>VM Scale Sets in Azure Resource Manager</vt:lpstr>
      <vt:lpstr>Getting started with Azure templates </vt:lpstr>
      <vt:lpstr>Template execution</vt:lpstr>
      <vt:lpstr>Deployment with Visual Studio</vt:lpstr>
      <vt:lpstr>Templates - preview</vt:lpstr>
      <vt:lpstr>Applications on IaaS</vt:lpstr>
      <vt:lpstr>PowerPoint Presentation</vt:lpstr>
      <vt:lpstr>Architecting complex applications on IaaS</vt:lpstr>
      <vt:lpstr>PowerPoint Presentation</vt:lpstr>
      <vt:lpstr>PowerPoint Presentation</vt:lpstr>
      <vt:lpstr>Design Review Checklis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olution  Alignment Workshop</dc:title>
  <cp:lastModifiedBy>Arturo Quiroga</cp:lastModifiedBy>
  <cp:revision>2</cp:revision>
  <dcterms:modified xsi:type="dcterms:W3CDTF">2018-03-21T13:3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53B0A39536C34A88A418826D8AA97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af1f5bfae61e4243aac9966cb19580e1">
    <vt:lpwstr>WW Infrastructure Architecture Community|020667bd-a0b2-4dd4-b4a1-385e3dc71c64;WW Modern Datacenter Community|50d24e14-9c01-4bff-9638-60dd6a2ef53b;WW Modern Service Management Community|081dbb6f-d246-441a-b120-79b504dd6281;WW Cloud Architecture Community|9</vt:lpwstr>
  </property>
  <property fmtid="{D5CDD505-2E9C-101B-9397-08002B2CF9AE}" pid="12" name="bc28b5f076654a3b96073bbbebfeb8c9">
    <vt:lpwstr>English|cb91f272-ce4d-4a7e-9bbf-78b58e3d188d</vt:lpwstr>
  </property>
  <property fmtid="{D5CDD505-2E9C-101B-9397-08002B2CF9AE}" pid="13" name="MSProductsTaxHTField0">
    <vt:lpwstr>Microsoft Azure StorSimple|5c5220f0-46a4-465b-b193-2e93bfbcd5b2;Microsoft Azure|669a3112-5edf-444b-a003-630063601f07;Microsoft System Center|8eef0cfe-5421-493a-86c3-6e56c8018e93;Windows Server 2012 R2|85a16c7b-ffe9-466b-a157-74a56d2e11b7;Microsoft Azure p</vt:lpwstr>
  </property>
  <property fmtid="{D5CDD505-2E9C-101B-9397-08002B2CF9AE}" pid="14" name="_dlc_DocIdItemGuid">
    <vt:lpwstr>064fefac-4245-4dce-901d-6f967f8f9c86</vt:lpwstr>
  </property>
  <property fmtid="{D5CDD505-2E9C-101B-9397-08002B2CF9AE}" pid="15" name="ie6d2fd56e2d423f9ae5744f65e04598">
    <vt:lpwstr/>
  </property>
  <property fmtid="{D5CDD505-2E9C-101B-9397-08002B2CF9AE}" pid="16" name="ServicesDomain">
    <vt:lpwstr/>
  </property>
  <property fmtid="{D5CDD505-2E9C-101B-9397-08002B2CF9AE}" pid="17" name="VerticalIndustries">
    <vt:lpwstr/>
  </property>
  <property fmtid="{D5CDD505-2E9C-101B-9397-08002B2CF9AE}" pid="18" name="IPKitNavigation">
    <vt:lpwstr/>
  </property>
  <property fmtid="{D5CDD505-2E9C-101B-9397-08002B2CF9AE}" pid="19" name="SalesGeography">
    <vt:lpwstr/>
  </property>
  <property fmtid="{D5CDD505-2E9C-101B-9397-08002B2CF9AE}" pid="20" name="MS Language">
    <vt:lpwstr/>
  </property>
  <property fmtid="{D5CDD505-2E9C-101B-9397-08002B2CF9AE}" pid="21" name="MSProducts">
    <vt:lpwstr>1658;#Microsoft Azure StorSimple|5c5220f0-46a4-465b-b193-2e93bfbcd5b2;#1274;#Microsoft Azure|669a3112-5edf-444b-a003-630063601f07;#197;#Microsoft System Center|8eef0cfe-5421-493a-86c3-6e56c8018e93;#1381;#Windows Server 2012 R2|85a16c7b-ffe9-466b-a157-74a5</vt:lpwstr>
  </property>
  <property fmtid="{D5CDD505-2E9C-101B-9397-08002B2CF9AE}" pid="22" name="m74a2925250f485f9486ed3f97e2a6b3">
    <vt:lpwstr/>
  </property>
  <property fmtid="{D5CDD505-2E9C-101B-9397-08002B2CF9AE}" pid="23" name="ServicesIPTypes">
    <vt:lpwstr/>
  </property>
  <property fmtid="{D5CDD505-2E9C-101B-9397-08002B2CF9AE}" pid="24" name="ServicesLifecycleStage">
    <vt:lpwstr/>
  </property>
  <property fmtid="{D5CDD505-2E9C-101B-9397-08002B2CF9AE}" pid="25" name="g6775e77a6d84637a29014d883a4378a">
    <vt:lpwstr/>
  </property>
  <property fmtid="{D5CDD505-2E9C-101B-9397-08002B2CF9AE}" pid="26" name="ServicesCommunities">
    <vt:lpwstr>611;#WW Infrastructure Architecture Community|020667bd-a0b2-4dd4-b4a1-385e3dc71c64;#608;#WW Modern Datacenter Community|50d24e14-9c01-4bff-9638-60dd6a2ef53b;#1378;#WW Modern Service Management Community|081dbb6f-d246-441a-b120-79b504dd6281;#608;#WW Cloud </vt:lpwstr>
  </property>
  <property fmtid="{D5CDD505-2E9C-101B-9397-08002B2CF9AE}" pid="27" name="cb7870d3641f4a52807a63577a9c1b08">
    <vt:lpwstr/>
  </property>
  <property fmtid="{D5CDD505-2E9C-101B-9397-08002B2CF9AE}" pid="28" name="MSLanguage">
    <vt:lpwstr>1248;#English|cb91f272-ce4d-4a7e-9bbf-78b58e3d188d</vt:lpwstr>
  </property>
  <property fmtid="{D5CDD505-2E9C-101B-9397-08002B2CF9AE}" pid="29" name="campusov">
    <vt:lpwstr/>
  </property>
  <property fmtid="{D5CDD505-2E9C-101B-9397-08002B2CF9AE}" pid="30" name="MSIP_Label_f42aa342-8706-4288-bd11-ebb85995028c_Enabled">
    <vt:lpwstr>True</vt:lpwstr>
  </property>
  <property fmtid="{D5CDD505-2E9C-101B-9397-08002B2CF9AE}" pid="31" name="MSIP_Label_f42aa342-8706-4288-bd11-ebb85995028c_SiteId">
    <vt:lpwstr>72f988bf-86f1-41af-91ab-2d7cd011db47</vt:lpwstr>
  </property>
  <property fmtid="{D5CDD505-2E9C-101B-9397-08002B2CF9AE}" pid="32" name="MSIP_Label_f42aa342-8706-4288-bd11-ebb85995028c_Owner">
    <vt:lpwstr>alexle@microsoft.com</vt:lpwstr>
  </property>
  <property fmtid="{D5CDD505-2E9C-101B-9397-08002B2CF9AE}" pid="33" name="MSIP_Label_f42aa342-8706-4288-bd11-ebb85995028c_SetDate">
    <vt:lpwstr>2017-10-28T13:49:19.0448852Z</vt:lpwstr>
  </property>
  <property fmtid="{D5CDD505-2E9C-101B-9397-08002B2CF9AE}" pid="34" name="MSIP_Label_f42aa342-8706-4288-bd11-ebb85995028c_Name">
    <vt:lpwstr>General</vt:lpwstr>
  </property>
  <property fmtid="{D5CDD505-2E9C-101B-9397-08002B2CF9AE}" pid="35" name="MSIP_Label_f42aa342-8706-4288-bd11-ebb85995028c_Application">
    <vt:lpwstr>Microsoft Azure Information Protection</vt:lpwstr>
  </property>
  <property fmtid="{D5CDD505-2E9C-101B-9397-08002B2CF9AE}" pid="36" name="MSIP_Label_f42aa342-8706-4288-bd11-ebb85995028c_Extended_MSFT_Method">
    <vt:lpwstr>Automatic</vt:lpwstr>
  </property>
  <property fmtid="{D5CDD505-2E9C-101B-9397-08002B2CF9AE}" pid="37" name="Sensitivity">
    <vt:lpwstr>General</vt:lpwstr>
  </property>
</Properties>
</file>